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media/image27.jpg" ContentType="image/png"/>
  <Override PartName="/ppt/media/image28.jpg" ContentType="image/png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4"/>
  </p:notesMasterIdLst>
  <p:handoutMasterIdLst>
    <p:handoutMasterId r:id="rId15"/>
  </p:handoutMasterIdLst>
  <p:sldIdLst>
    <p:sldId id="477" r:id="rId2"/>
    <p:sldId id="271" r:id="rId3"/>
    <p:sldId id="269" r:id="rId4"/>
    <p:sldId id="480" r:id="rId5"/>
    <p:sldId id="426" r:id="rId6"/>
    <p:sldId id="481" r:id="rId7"/>
    <p:sldId id="425" r:id="rId8"/>
    <p:sldId id="423" r:id="rId9"/>
    <p:sldId id="424" r:id="rId10"/>
    <p:sldId id="281" r:id="rId11"/>
    <p:sldId id="272" r:id="rId12"/>
    <p:sldId id="478" r:id="rId13"/>
  </p:sldIdLst>
  <p:sldSz cx="12192000" cy="6858000"/>
  <p:notesSz cx="6797675" cy="9928225"/>
  <p:defaultTextStyle>
    <a:defPPr>
      <a:defRPr lang="en-US"/>
    </a:defPPr>
    <a:lvl1pPr marL="0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89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77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566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754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943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131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320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509" algn="l" defTabSz="914377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C057"/>
    <a:srgbClr val="5DFFA6"/>
    <a:srgbClr val="00F26D"/>
    <a:srgbClr val="00A44A"/>
    <a:srgbClr val="00602B"/>
    <a:srgbClr val="007A37"/>
    <a:srgbClr val="19FF81"/>
    <a:srgbClr val="2E471D"/>
    <a:srgbClr val="EF2611"/>
    <a:srgbClr val="FB571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CE770D1-3E72-42BE-9927-4DCA8820A03B}" v="231" dt="2019-02-22T14:40:48.463"/>
    <p1510:client id="{6DB4E51F-0C7E-4AB0-9013-42391791B3E8}" v="4" dt="2019-02-22T13:04:40.158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617" autoAdjust="0"/>
    <p:restoredTop sz="72686" autoAdjust="0"/>
  </p:normalViewPr>
  <p:slideViewPr>
    <p:cSldViewPr snapToGrid="0">
      <p:cViewPr varScale="1">
        <p:scale>
          <a:sx n="84" d="100"/>
          <a:sy n="84" d="100"/>
        </p:scale>
        <p:origin x="-1614" y="-8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7" d="100"/>
          <a:sy n="67" d="100"/>
        </p:scale>
        <p:origin x="2442" y="9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microsoft.com/office/2015/10/relationships/revisionInfo" Target="revisionInfo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20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Сергій Крючатов" userId="8e7a03ca-f59a-46b1-9561-7469f01a934b" providerId="ADAL" clId="{9FDA4BA0-A2F5-4699-A86C-68FAFD75DF40}"/>
    <pc:docChg chg="undo redo custSel addSld delSld modSld sldOrd modNotesMaster modHandout">
      <pc:chgData name="Сергій Крючатов" userId="8e7a03ca-f59a-46b1-9561-7469f01a934b" providerId="ADAL" clId="{9FDA4BA0-A2F5-4699-A86C-68FAFD75DF40}" dt="2019-02-22T11:38:29.465" v="3221"/>
      <pc:docMkLst>
        <pc:docMk/>
      </pc:docMkLst>
      <pc:sldChg chg="del">
        <pc:chgData name="Сергій Крючатов" userId="8e7a03ca-f59a-46b1-9561-7469f01a934b" providerId="ADAL" clId="{9FDA4BA0-A2F5-4699-A86C-68FAFD75DF40}" dt="2019-02-22T07:05:27.679" v="1" actId="2696"/>
        <pc:sldMkLst>
          <pc:docMk/>
          <pc:sldMk cId="3856157188" sldId="256"/>
        </pc:sldMkLst>
      </pc:sldChg>
      <pc:sldChg chg="del">
        <pc:chgData name="Сергій Крючатов" userId="8e7a03ca-f59a-46b1-9561-7469f01a934b" providerId="ADAL" clId="{9FDA4BA0-A2F5-4699-A86C-68FAFD75DF40}" dt="2019-02-22T07:06:03.743" v="8" actId="2696"/>
        <pc:sldMkLst>
          <pc:docMk/>
          <pc:sldMk cId="1078632755" sldId="259"/>
        </pc:sldMkLst>
      </pc:sldChg>
      <pc:sldChg chg="del">
        <pc:chgData name="Сергій Крючатов" userId="8e7a03ca-f59a-46b1-9561-7469f01a934b" providerId="ADAL" clId="{9FDA4BA0-A2F5-4699-A86C-68FAFD75DF40}" dt="2019-02-22T10:59:18.550" v="2186" actId="2696"/>
        <pc:sldMkLst>
          <pc:docMk/>
          <pc:sldMk cId="241713735" sldId="261"/>
        </pc:sldMkLst>
      </pc:sldChg>
      <pc:sldChg chg="addSp delSp modSp ord">
        <pc:chgData name="Сергій Крючатов" userId="8e7a03ca-f59a-46b1-9561-7469f01a934b" providerId="ADAL" clId="{9FDA4BA0-A2F5-4699-A86C-68FAFD75DF40}" dt="2019-02-22T11:35:01.553" v="3212"/>
        <pc:sldMkLst>
          <pc:docMk/>
          <pc:sldMk cId="212687677" sldId="269"/>
        </pc:sldMkLst>
        <pc:spChg chg="del">
          <ac:chgData name="Сергій Крючатов" userId="8e7a03ca-f59a-46b1-9561-7469f01a934b" providerId="ADAL" clId="{9FDA4BA0-A2F5-4699-A86C-68FAFD75DF40}" dt="2019-02-22T07:23:38.144" v="88" actId="931"/>
          <ac:spMkLst>
            <pc:docMk/>
            <pc:sldMk cId="212687677" sldId="269"/>
            <ac:spMk id="2" creationId="{00000000-0000-0000-0000-000000000000}"/>
          </ac:spMkLst>
        </pc:spChg>
        <pc:spChg chg="del">
          <ac:chgData name="Сергій Крючатов" userId="8e7a03ca-f59a-46b1-9561-7469f01a934b" providerId="ADAL" clId="{9FDA4BA0-A2F5-4699-A86C-68FAFD75DF40}" dt="2019-02-22T07:23:59.987" v="91" actId="931"/>
          <ac:spMkLst>
            <pc:docMk/>
            <pc:sldMk cId="212687677" sldId="269"/>
            <ac:spMk id="3" creationId="{00000000-0000-0000-0000-000000000000}"/>
          </ac:spMkLst>
        </pc:spChg>
        <pc:spChg chg="mod">
          <ac:chgData name="Сергій Крючатов" userId="8e7a03ca-f59a-46b1-9561-7469f01a934b" providerId="ADAL" clId="{9FDA4BA0-A2F5-4699-A86C-68FAFD75DF40}" dt="2019-02-22T09:01:38.280" v="912" actId="20577"/>
          <ac:spMkLst>
            <pc:docMk/>
            <pc:sldMk cId="212687677" sldId="269"/>
            <ac:spMk id="17" creationId="{00000000-0000-0000-0000-000000000000}"/>
          </ac:spMkLst>
        </pc:spChg>
        <pc:spChg chg="mod">
          <ac:chgData name="Сергій Крючатов" userId="8e7a03ca-f59a-46b1-9561-7469f01a934b" providerId="ADAL" clId="{9FDA4BA0-A2F5-4699-A86C-68FAFD75DF40}" dt="2019-02-22T09:15:44.380" v="1803"/>
          <ac:spMkLst>
            <pc:docMk/>
            <pc:sldMk cId="212687677" sldId="269"/>
            <ac:spMk id="18" creationId="{00000000-0000-0000-0000-000000000000}"/>
          </ac:spMkLst>
        </pc:spChg>
        <pc:spChg chg="mod">
          <ac:chgData name="Сергій Крючатов" userId="8e7a03ca-f59a-46b1-9561-7469f01a934b" providerId="ADAL" clId="{9FDA4BA0-A2F5-4699-A86C-68FAFD75DF40}" dt="2019-02-22T07:37:27.562" v="477" actId="16037"/>
          <ac:spMkLst>
            <pc:docMk/>
            <pc:sldMk cId="212687677" sldId="269"/>
            <ac:spMk id="19" creationId="{00000000-0000-0000-0000-000000000000}"/>
          </ac:spMkLst>
        </pc:spChg>
        <pc:spChg chg="mod">
          <ac:chgData name="Сергій Крючатов" userId="8e7a03ca-f59a-46b1-9561-7469f01a934b" providerId="ADAL" clId="{9FDA4BA0-A2F5-4699-A86C-68FAFD75DF40}" dt="2019-02-22T07:41:02.428" v="596" actId="20577"/>
          <ac:spMkLst>
            <pc:docMk/>
            <pc:sldMk cId="212687677" sldId="269"/>
            <ac:spMk id="21" creationId="{00000000-0000-0000-0000-000000000000}"/>
          </ac:spMkLst>
        </pc:spChg>
        <pc:spChg chg="mod">
          <ac:chgData name="Сергій Крючатов" userId="8e7a03ca-f59a-46b1-9561-7469f01a934b" providerId="ADAL" clId="{9FDA4BA0-A2F5-4699-A86C-68FAFD75DF40}" dt="2019-02-22T07:27:24.677" v="311" actId="14100"/>
          <ac:spMkLst>
            <pc:docMk/>
            <pc:sldMk cId="212687677" sldId="269"/>
            <ac:spMk id="23" creationId="{00000000-0000-0000-0000-000000000000}"/>
          </ac:spMkLst>
        </pc:spChg>
        <pc:spChg chg="mod">
          <ac:chgData name="Сергій Крючатов" userId="8e7a03ca-f59a-46b1-9561-7469f01a934b" providerId="ADAL" clId="{9FDA4BA0-A2F5-4699-A86C-68FAFD75DF40}" dt="2019-02-22T07:27:35.602" v="333" actId="20577"/>
          <ac:spMkLst>
            <pc:docMk/>
            <pc:sldMk cId="212687677" sldId="269"/>
            <ac:spMk id="24" creationId="{00000000-0000-0000-0000-000000000000}"/>
          </ac:spMkLst>
        </pc:spChg>
        <pc:picChg chg="add mod modCrop">
          <ac:chgData name="Сергій Крючатов" userId="8e7a03ca-f59a-46b1-9561-7469f01a934b" providerId="ADAL" clId="{9FDA4BA0-A2F5-4699-A86C-68FAFD75DF40}" dt="2019-02-22T07:26:37.843" v="260" actId="18131"/>
          <ac:picMkLst>
            <pc:docMk/>
            <pc:sldMk cId="212687677" sldId="269"/>
            <ac:picMk id="6" creationId="{C7DE20D8-906C-4152-A2D1-1B9ED822E336}"/>
          </ac:picMkLst>
        </pc:picChg>
        <pc:picChg chg="add mod">
          <ac:chgData name="Сергій Крючатов" userId="8e7a03ca-f59a-46b1-9561-7469f01a934b" providerId="ADAL" clId="{9FDA4BA0-A2F5-4699-A86C-68FAFD75DF40}" dt="2019-02-22T07:45:55.528" v="613" actId="14826"/>
          <ac:picMkLst>
            <pc:docMk/>
            <pc:sldMk cId="212687677" sldId="269"/>
            <ac:picMk id="8" creationId="{F8467CF9-9FE8-430D-9EBD-E11E652CE752}"/>
          </ac:picMkLst>
        </pc:picChg>
        <pc:picChg chg="add">
          <ac:chgData name="Сергій Крючатов" userId="8e7a03ca-f59a-46b1-9561-7469f01a934b" providerId="ADAL" clId="{9FDA4BA0-A2F5-4699-A86C-68FAFD75DF40}" dt="2019-02-22T11:35:01.553" v="3212"/>
          <ac:picMkLst>
            <pc:docMk/>
            <pc:sldMk cId="212687677" sldId="269"/>
            <ac:picMk id="16" creationId="{2EEFE0A3-159E-499B-BE92-7487EDA8005A}"/>
          </ac:picMkLst>
        </pc:picChg>
      </pc:sldChg>
      <pc:sldChg chg="del">
        <pc:chgData name="Сергій Крючатов" userId="8e7a03ca-f59a-46b1-9561-7469f01a934b" providerId="ADAL" clId="{9FDA4BA0-A2F5-4699-A86C-68FAFD75DF40}" dt="2019-02-22T10:58:56.160" v="2092" actId="2696"/>
        <pc:sldMkLst>
          <pc:docMk/>
          <pc:sldMk cId="3763120867" sldId="270"/>
        </pc:sldMkLst>
      </pc:sldChg>
      <pc:sldChg chg="addSp delSp modSp ord setBg">
        <pc:chgData name="Сергій Крючатов" userId="8e7a03ca-f59a-46b1-9561-7469f01a934b" providerId="ADAL" clId="{9FDA4BA0-A2F5-4699-A86C-68FAFD75DF40}" dt="2019-02-22T11:34:55.921" v="3211" actId="1038"/>
        <pc:sldMkLst>
          <pc:docMk/>
          <pc:sldMk cId="2531754532" sldId="271"/>
        </pc:sldMkLst>
        <pc:spChg chg="del">
          <ac:chgData name="Сергій Крючатов" userId="8e7a03ca-f59a-46b1-9561-7469f01a934b" providerId="ADAL" clId="{9FDA4BA0-A2F5-4699-A86C-68FAFD75DF40}" dt="2019-02-22T07:09:48.431" v="24" actId="931"/>
          <ac:spMkLst>
            <pc:docMk/>
            <pc:sldMk cId="2531754532" sldId="271"/>
            <ac:spMk id="2" creationId="{00000000-0000-0000-0000-000000000000}"/>
          </ac:spMkLst>
        </pc:spChg>
        <pc:spChg chg="mod">
          <ac:chgData name="Сергій Крючатов" userId="8e7a03ca-f59a-46b1-9561-7469f01a934b" providerId="ADAL" clId="{9FDA4BA0-A2F5-4699-A86C-68FAFD75DF40}" dt="2019-02-22T07:42:20.569" v="599" actId="207"/>
          <ac:spMkLst>
            <pc:docMk/>
            <pc:sldMk cId="2531754532" sldId="271"/>
            <ac:spMk id="4" creationId="{00000000-0000-0000-0000-000000000000}"/>
          </ac:spMkLst>
        </pc:spChg>
        <pc:spChg chg="mod">
          <ac:chgData name="Сергій Крючатов" userId="8e7a03ca-f59a-46b1-9561-7469f01a934b" providerId="ADAL" clId="{9FDA4BA0-A2F5-4699-A86C-68FAFD75DF40}" dt="2019-02-22T07:21:06.946" v="60" actId="113"/>
          <ac:spMkLst>
            <pc:docMk/>
            <pc:sldMk cId="2531754532" sldId="271"/>
            <ac:spMk id="6" creationId="{00000000-0000-0000-0000-000000000000}"/>
          </ac:spMkLst>
        </pc:spChg>
        <pc:spChg chg="mod">
          <ac:chgData name="Сергій Крючатов" userId="8e7a03ca-f59a-46b1-9561-7469f01a934b" providerId="ADAL" clId="{9FDA4BA0-A2F5-4699-A86C-68FAFD75DF40}" dt="2019-02-22T07:20:20.584" v="51" actId="207"/>
          <ac:spMkLst>
            <pc:docMk/>
            <pc:sldMk cId="2531754532" sldId="271"/>
            <ac:spMk id="8" creationId="{00000000-0000-0000-0000-000000000000}"/>
          </ac:spMkLst>
        </pc:spChg>
        <pc:picChg chg="add mod">
          <ac:chgData name="Сергій Крючатов" userId="8e7a03ca-f59a-46b1-9561-7469f01a934b" providerId="ADAL" clId="{9FDA4BA0-A2F5-4699-A86C-68FAFD75DF40}" dt="2019-02-22T07:09:48.431" v="24" actId="931"/>
          <ac:picMkLst>
            <pc:docMk/>
            <pc:sldMk cId="2531754532" sldId="271"/>
            <ac:picMk id="7" creationId="{B2129EC8-C438-4B24-A786-51D557707EE4}"/>
          </ac:picMkLst>
        </pc:picChg>
        <pc:picChg chg="add mod">
          <ac:chgData name="Сергій Крючатов" userId="8e7a03ca-f59a-46b1-9561-7469f01a934b" providerId="ADAL" clId="{9FDA4BA0-A2F5-4699-A86C-68FAFD75DF40}" dt="2019-02-22T11:34:55.921" v="3211" actId="1038"/>
          <ac:picMkLst>
            <pc:docMk/>
            <pc:sldMk cId="2531754532" sldId="271"/>
            <ac:picMk id="10" creationId="{4C4A922E-E094-403C-8513-581BF80D95CC}"/>
          </ac:picMkLst>
        </pc:picChg>
      </pc:sldChg>
      <pc:sldChg chg="addSp delSp modSp ord">
        <pc:chgData name="Сергій Крючатов" userId="8e7a03ca-f59a-46b1-9561-7469f01a934b" providerId="ADAL" clId="{9FDA4BA0-A2F5-4699-A86C-68FAFD75DF40}" dt="2019-02-22T11:37:51.102" v="3219"/>
        <pc:sldMkLst>
          <pc:docMk/>
          <pc:sldMk cId="3642187192" sldId="272"/>
        </pc:sldMkLst>
        <pc:spChg chg="del">
          <ac:chgData name="Сергій Крючатов" userId="8e7a03ca-f59a-46b1-9561-7469f01a934b" providerId="ADAL" clId="{9FDA4BA0-A2F5-4699-A86C-68FAFD75DF40}" dt="2019-02-22T10:26:29.763" v="2038" actId="931"/>
          <ac:spMkLst>
            <pc:docMk/>
            <pc:sldMk cId="3642187192" sldId="272"/>
            <ac:spMk id="2" creationId="{00000000-0000-0000-0000-000000000000}"/>
          </ac:spMkLst>
        </pc:spChg>
        <pc:spChg chg="mod">
          <ac:chgData name="Сергій Крючатов" userId="8e7a03ca-f59a-46b1-9561-7469f01a934b" providerId="ADAL" clId="{9FDA4BA0-A2F5-4699-A86C-68FAFD75DF40}" dt="2019-02-22T10:27:39.884" v="2063" actId="207"/>
          <ac:spMkLst>
            <pc:docMk/>
            <pc:sldMk cId="3642187192" sldId="272"/>
            <ac:spMk id="14" creationId="{00000000-0000-0000-0000-000000000000}"/>
          </ac:spMkLst>
        </pc:spChg>
        <pc:spChg chg="mod">
          <ac:chgData name="Сергій Крючатов" userId="8e7a03ca-f59a-46b1-9561-7469f01a934b" providerId="ADAL" clId="{9FDA4BA0-A2F5-4699-A86C-68FAFD75DF40}" dt="2019-02-22T10:27:21.254" v="2050" actId="20577"/>
          <ac:spMkLst>
            <pc:docMk/>
            <pc:sldMk cId="3642187192" sldId="272"/>
            <ac:spMk id="17" creationId="{00000000-0000-0000-0000-000000000000}"/>
          </ac:spMkLst>
        </pc:spChg>
        <pc:spChg chg="mod">
          <ac:chgData name="Сергій Крючатов" userId="8e7a03ca-f59a-46b1-9561-7469f01a934b" providerId="ADAL" clId="{9FDA4BA0-A2F5-4699-A86C-68FAFD75DF40}" dt="2019-02-22T10:27:42.464" v="2064" actId="207"/>
          <ac:spMkLst>
            <pc:docMk/>
            <pc:sldMk cId="3642187192" sldId="272"/>
            <ac:spMk id="18" creationId="{00000000-0000-0000-0000-000000000000}"/>
          </ac:spMkLst>
        </pc:spChg>
        <pc:spChg chg="mod">
          <ac:chgData name="Сергій Крючатов" userId="8e7a03ca-f59a-46b1-9561-7469f01a934b" providerId="ADAL" clId="{9FDA4BA0-A2F5-4699-A86C-68FAFD75DF40}" dt="2019-02-22T10:26:19.164" v="2036" actId="207"/>
          <ac:spMkLst>
            <pc:docMk/>
            <pc:sldMk cId="3642187192" sldId="272"/>
            <ac:spMk id="22" creationId="{00000000-0000-0000-0000-000000000000}"/>
          </ac:spMkLst>
        </pc:spChg>
        <pc:spChg chg="mod">
          <ac:chgData name="Сергій Крючатов" userId="8e7a03ca-f59a-46b1-9561-7469f01a934b" providerId="ADAL" clId="{9FDA4BA0-A2F5-4699-A86C-68FAFD75DF40}" dt="2019-02-22T10:26:23.034" v="2037" actId="207"/>
          <ac:spMkLst>
            <pc:docMk/>
            <pc:sldMk cId="3642187192" sldId="272"/>
            <ac:spMk id="23" creationId="{00000000-0000-0000-0000-000000000000}"/>
          </ac:spMkLst>
        </pc:spChg>
        <pc:spChg chg="mod">
          <ac:chgData name="Сергій Крючатов" userId="8e7a03ca-f59a-46b1-9561-7469f01a934b" providerId="ADAL" clId="{9FDA4BA0-A2F5-4699-A86C-68FAFD75DF40}" dt="2019-02-22T10:27:28.443" v="2061" actId="20577"/>
          <ac:spMkLst>
            <pc:docMk/>
            <pc:sldMk cId="3642187192" sldId="272"/>
            <ac:spMk id="26" creationId="{00000000-0000-0000-0000-000000000000}"/>
          </ac:spMkLst>
        </pc:spChg>
        <pc:grpChg chg="mod">
          <ac:chgData name="Сергій Крючатов" userId="8e7a03ca-f59a-46b1-9561-7469f01a934b" providerId="ADAL" clId="{9FDA4BA0-A2F5-4699-A86C-68FAFD75DF40}" dt="2019-02-22T10:27:00.124" v="2039"/>
          <ac:grpSpMkLst>
            <pc:docMk/>
            <pc:sldMk cId="3642187192" sldId="272"/>
            <ac:grpSpMk id="3" creationId="{00000000-0000-0000-0000-000000000000}"/>
          </ac:grpSpMkLst>
        </pc:grpChg>
        <pc:grpChg chg="mod">
          <ac:chgData name="Сергій Крючатов" userId="8e7a03ca-f59a-46b1-9561-7469f01a934b" providerId="ADAL" clId="{9FDA4BA0-A2F5-4699-A86C-68FAFD75DF40}" dt="2019-02-22T10:27:10.978" v="2040"/>
          <ac:grpSpMkLst>
            <pc:docMk/>
            <pc:sldMk cId="3642187192" sldId="272"/>
            <ac:grpSpMk id="5" creationId="{00000000-0000-0000-0000-000000000000}"/>
          </ac:grpSpMkLst>
        </pc:grpChg>
        <pc:picChg chg="add mod">
          <ac:chgData name="Сергій Крючатов" userId="8e7a03ca-f59a-46b1-9561-7469f01a934b" providerId="ADAL" clId="{9FDA4BA0-A2F5-4699-A86C-68FAFD75DF40}" dt="2019-02-22T10:26:29.763" v="2038" actId="931"/>
          <ac:picMkLst>
            <pc:docMk/>
            <pc:sldMk cId="3642187192" sldId="272"/>
            <ac:picMk id="7" creationId="{648FECDD-4612-4426-9A93-65B682777AB9}"/>
          </ac:picMkLst>
        </pc:picChg>
        <pc:picChg chg="add">
          <ac:chgData name="Сергій Крючатов" userId="8e7a03ca-f59a-46b1-9561-7469f01a934b" providerId="ADAL" clId="{9FDA4BA0-A2F5-4699-A86C-68FAFD75DF40}" dt="2019-02-22T11:37:51.102" v="3219"/>
          <ac:picMkLst>
            <pc:docMk/>
            <pc:sldMk cId="3642187192" sldId="272"/>
            <ac:picMk id="16" creationId="{7CB190D3-6FA1-475D-BBDD-AA12081821F1}"/>
          </ac:picMkLst>
        </pc:picChg>
      </pc:sldChg>
      <pc:sldChg chg="del">
        <pc:chgData name="Сергій Крючатов" userId="8e7a03ca-f59a-46b1-9561-7469f01a934b" providerId="ADAL" clId="{9FDA4BA0-A2F5-4699-A86C-68FAFD75DF40}" dt="2019-02-22T07:05:33.619" v="6" actId="2696"/>
        <pc:sldMkLst>
          <pc:docMk/>
          <pc:sldMk cId="3151458855" sldId="273"/>
        </pc:sldMkLst>
      </pc:sldChg>
      <pc:sldChg chg="del">
        <pc:chgData name="Сергій Крючатов" userId="8e7a03ca-f59a-46b1-9561-7469f01a934b" providerId="ADAL" clId="{9FDA4BA0-A2F5-4699-A86C-68FAFD75DF40}" dt="2019-02-22T10:58:56.243" v="2094" actId="2696"/>
        <pc:sldMkLst>
          <pc:docMk/>
          <pc:sldMk cId="2422893255" sldId="274"/>
        </pc:sldMkLst>
      </pc:sldChg>
      <pc:sldChg chg="del">
        <pc:chgData name="Сергій Крючатов" userId="8e7a03ca-f59a-46b1-9561-7469f01a934b" providerId="ADAL" clId="{9FDA4BA0-A2F5-4699-A86C-68FAFD75DF40}" dt="2019-02-22T10:58:56.210" v="2093" actId="2696"/>
        <pc:sldMkLst>
          <pc:docMk/>
          <pc:sldMk cId="1787246009" sldId="275"/>
        </pc:sldMkLst>
      </pc:sldChg>
      <pc:sldChg chg="del">
        <pc:chgData name="Сергій Крючатов" userId="8e7a03ca-f59a-46b1-9561-7469f01a934b" providerId="ADAL" clId="{9FDA4BA0-A2F5-4699-A86C-68FAFD75DF40}" dt="2019-02-22T10:58:56.339" v="2096" actId="2696"/>
        <pc:sldMkLst>
          <pc:docMk/>
          <pc:sldMk cId="609844726" sldId="276"/>
        </pc:sldMkLst>
      </pc:sldChg>
      <pc:sldChg chg="del">
        <pc:chgData name="Сергій Крючатов" userId="8e7a03ca-f59a-46b1-9561-7469f01a934b" providerId="ADAL" clId="{9FDA4BA0-A2F5-4699-A86C-68FAFD75DF40}" dt="2019-02-22T10:58:56.280" v="2095" actId="2696"/>
        <pc:sldMkLst>
          <pc:docMk/>
          <pc:sldMk cId="35189655" sldId="279"/>
        </pc:sldMkLst>
      </pc:sldChg>
      <pc:sldChg chg="addSp delSp modSp ord">
        <pc:chgData name="Сергій Крючатов" userId="8e7a03ca-f59a-46b1-9561-7469f01a934b" providerId="ADAL" clId="{9FDA4BA0-A2F5-4699-A86C-68FAFD75DF40}" dt="2019-02-22T11:38:29.465" v="3221"/>
        <pc:sldMkLst>
          <pc:docMk/>
          <pc:sldMk cId="968597331" sldId="281"/>
        </pc:sldMkLst>
        <pc:spChg chg="mod">
          <ac:chgData name="Сергій Крючатов" userId="8e7a03ca-f59a-46b1-9561-7469f01a934b" providerId="ADAL" clId="{9FDA4BA0-A2F5-4699-A86C-68FAFD75DF40}" dt="2019-02-22T10:50:19.029" v="2077" actId="207"/>
          <ac:spMkLst>
            <pc:docMk/>
            <pc:sldMk cId="968597331" sldId="281"/>
            <ac:spMk id="3" creationId="{00000000-0000-0000-0000-000000000000}"/>
          </ac:spMkLst>
        </pc:spChg>
        <pc:spChg chg="mod">
          <ac:chgData name="Сергій Крючатов" userId="8e7a03ca-f59a-46b1-9561-7469f01a934b" providerId="ADAL" clId="{9FDA4BA0-A2F5-4699-A86C-68FAFD75DF40}" dt="2019-02-22T11:28:40.451" v="3063" actId="207"/>
          <ac:spMkLst>
            <pc:docMk/>
            <pc:sldMk cId="968597331" sldId="281"/>
            <ac:spMk id="5" creationId="{00000000-0000-0000-0000-000000000000}"/>
          </ac:spMkLst>
        </pc:spChg>
        <pc:spChg chg="del">
          <ac:chgData name="Сергій Крючатов" userId="8e7a03ca-f59a-46b1-9561-7469f01a934b" providerId="ADAL" clId="{9FDA4BA0-A2F5-4699-A86C-68FAFD75DF40}" dt="2019-02-22T10:53:02.642" v="2084" actId="931"/>
          <ac:spMkLst>
            <pc:docMk/>
            <pc:sldMk cId="968597331" sldId="281"/>
            <ac:spMk id="6" creationId="{00000000-0000-0000-0000-000000000000}"/>
          </ac:spMkLst>
        </pc:spChg>
        <pc:spChg chg="add del">
          <ac:chgData name="Сергій Крючатов" userId="8e7a03ca-f59a-46b1-9561-7469f01a934b" providerId="ADAL" clId="{9FDA4BA0-A2F5-4699-A86C-68FAFD75DF40}" dt="2019-02-22T10:53:07.529" v="2085" actId="931"/>
          <ac:spMkLst>
            <pc:docMk/>
            <pc:sldMk cId="968597331" sldId="281"/>
            <ac:spMk id="8" creationId="{00000000-0000-0000-0000-000000000000}"/>
          </ac:spMkLst>
        </pc:spChg>
        <pc:spChg chg="del">
          <ac:chgData name="Сергій Крючатов" userId="8e7a03ca-f59a-46b1-9561-7469f01a934b" providerId="ADAL" clId="{9FDA4BA0-A2F5-4699-A86C-68FAFD75DF40}" dt="2019-02-22T10:54:57.474" v="2086" actId="931"/>
          <ac:spMkLst>
            <pc:docMk/>
            <pc:sldMk cId="968597331" sldId="281"/>
            <ac:spMk id="9" creationId="{00000000-0000-0000-0000-000000000000}"/>
          </ac:spMkLst>
        </pc:spChg>
        <pc:spChg chg="mod">
          <ac:chgData name="Сергій Крючатов" userId="8e7a03ca-f59a-46b1-9561-7469f01a934b" providerId="ADAL" clId="{9FDA4BA0-A2F5-4699-A86C-68FAFD75DF40}" dt="2019-02-22T11:29:07.711" v="3065" actId="207"/>
          <ac:spMkLst>
            <pc:docMk/>
            <pc:sldMk cId="968597331" sldId="281"/>
            <ac:spMk id="46" creationId="{00000000-0000-0000-0000-000000000000}"/>
          </ac:spMkLst>
        </pc:spChg>
        <pc:spChg chg="mod">
          <ac:chgData name="Сергій Крючатов" userId="8e7a03ca-f59a-46b1-9561-7469f01a934b" providerId="ADAL" clId="{9FDA4BA0-A2F5-4699-A86C-68FAFD75DF40}" dt="2019-02-22T11:27:13.885" v="2937" actId="20577"/>
          <ac:spMkLst>
            <pc:docMk/>
            <pc:sldMk cId="968597331" sldId="281"/>
            <ac:spMk id="47" creationId="{00000000-0000-0000-0000-000000000000}"/>
          </ac:spMkLst>
        </pc:spChg>
        <pc:spChg chg="mod">
          <ac:chgData name="Сергій Крючатов" userId="8e7a03ca-f59a-46b1-9561-7469f01a934b" providerId="ADAL" clId="{9FDA4BA0-A2F5-4699-A86C-68FAFD75DF40}" dt="2019-02-22T11:30:00.571" v="3137" actId="20577"/>
          <ac:spMkLst>
            <pc:docMk/>
            <pc:sldMk cId="968597331" sldId="281"/>
            <ac:spMk id="48" creationId="{00000000-0000-0000-0000-000000000000}"/>
          </ac:spMkLst>
        </pc:spChg>
        <pc:spChg chg="mod">
          <ac:chgData name="Сергій Крючатов" userId="8e7a03ca-f59a-46b1-9561-7469f01a934b" providerId="ADAL" clId="{9FDA4BA0-A2F5-4699-A86C-68FAFD75DF40}" dt="2019-02-22T11:27:24.951" v="2965" actId="20577"/>
          <ac:spMkLst>
            <pc:docMk/>
            <pc:sldMk cId="968597331" sldId="281"/>
            <ac:spMk id="49" creationId="{00000000-0000-0000-0000-000000000000}"/>
          </ac:spMkLst>
        </pc:spChg>
        <pc:spChg chg="mod">
          <ac:chgData name="Сергій Крючатов" userId="8e7a03ca-f59a-46b1-9561-7469f01a934b" providerId="ADAL" clId="{9FDA4BA0-A2F5-4699-A86C-68FAFD75DF40}" dt="2019-02-22T11:31:07.191" v="3188" actId="20577"/>
          <ac:spMkLst>
            <pc:docMk/>
            <pc:sldMk cId="968597331" sldId="281"/>
            <ac:spMk id="50" creationId="{00000000-0000-0000-0000-000000000000}"/>
          </ac:spMkLst>
        </pc:spChg>
        <pc:spChg chg="mod">
          <ac:chgData name="Сергій Крючатов" userId="8e7a03ca-f59a-46b1-9561-7469f01a934b" providerId="ADAL" clId="{9FDA4BA0-A2F5-4699-A86C-68FAFD75DF40}" dt="2019-02-22T11:27:42.661" v="2978" actId="20577"/>
          <ac:spMkLst>
            <pc:docMk/>
            <pc:sldMk cId="968597331" sldId="281"/>
            <ac:spMk id="51" creationId="{00000000-0000-0000-0000-000000000000}"/>
          </ac:spMkLst>
        </pc:spChg>
        <pc:picChg chg="add del mod">
          <ac:chgData name="Сергій Крючатов" userId="8e7a03ca-f59a-46b1-9561-7469f01a934b" providerId="ADAL" clId="{9FDA4BA0-A2F5-4699-A86C-68FAFD75DF40}" dt="2019-02-22T10:51:37.023" v="2079" actId="931"/>
          <ac:picMkLst>
            <pc:docMk/>
            <pc:sldMk cId="968597331" sldId="281"/>
            <ac:picMk id="10" creationId="{C05205C6-8EAD-4DE6-80E2-706DBFFD2860}"/>
          </ac:picMkLst>
        </pc:picChg>
        <pc:picChg chg="add mod">
          <ac:chgData name="Сергій Крючатов" userId="8e7a03ca-f59a-46b1-9561-7469f01a934b" providerId="ADAL" clId="{9FDA4BA0-A2F5-4699-A86C-68FAFD75DF40}" dt="2019-02-22T10:55:14.820" v="2087" actId="14826"/>
          <ac:picMkLst>
            <pc:docMk/>
            <pc:sldMk cId="968597331" sldId="281"/>
            <ac:picMk id="12" creationId="{1C40C61D-556D-4E3A-8374-6D59543A2302}"/>
          </ac:picMkLst>
        </pc:picChg>
        <pc:picChg chg="add mod">
          <ac:chgData name="Сергій Крючатов" userId="8e7a03ca-f59a-46b1-9561-7469f01a934b" providerId="ADAL" clId="{9FDA4BA0-A2F5-4699-A86C-68FAFD75DF40}" dt="2019-02-22T10:53:07.529" v="2085" actId="931"/>
          <ac:picMkLst>
            <pc:docMk/>
            <pc:sldMk cId="968597331" sldId="281"/>
            <ac:picMk id="14" creationId="{8C9B962C-A98E-473C-B8D3-1E44B0E41D95}"/>
          </ac:picMkLst>
        </pc:picChg>
        <pc:picChg chg="add mod">
          <ac:chgData name="Сергій Крючатов" userId="8e7a03ca-f59a-46b1-9561-7469f01a934b" providerId="ADAL" clId="{9FDA4BA0-A2F5-4699-A86C-68FAFD75DF40}" dt="2019-02-22T10:54:57.474" v="2086" actId="931"/>
          <ac:picMkLst>
            <pc:docMk/>
            <pc:sldMk cId="968597331" sldId="281"/>
            <ac:picMk id="16" creationId="{900727EB-5527-4BD5-9179-A1D25993E846}"/>
          </ac:picMkLst>
        </pc:picChg>
        <pc:picChg chg="add">
          <ac:chgData name="Сергій Крючатов" userId="8e7a03ca-f59a-46b1-9561-7469f01a934b" providerId="ADAL" clId="{9FDA4BA0-A2F5-4699-A86C-68FAFD75DF40}" dt="2019-02-22T11:38:29.465" v="3221"/>
          <ac:picMkLst>
            <pc:docMk/>
            <pc:sldMk cId="968597331" sldId="281"/>
            <ac:picMk id="27" creationId="{97434FF5-18E0-49CC-AC25-A4C9557E0720}"/>
          </ac:picMkLst>
        </pc:picChg>
      </pc:sldChg>
      <pc:sldChg chg="del">
        <pc:chgData name="Сергій Крючатов" userId="8e7a03ca-f59a-46b1-9561-7469f01a934b" providerId="ADAL" clId="{9FDA4BA0-A2F5-4699-A86C-68FAFD75DF40}" dt="2019-02-22T07:05:29.453" v="3" actId="2696"/>
        <pc:sldMkLst>
          <pc:docMk/>
          <pc:sldMk cId="4226226660" sldId="283"/>
        </pc:sldMkLst>
      </pc:sldChg>
      <pc:sldChg chg="del">
        <pc:chgData name="Сергій Крючатов" userId="8e7a03ca-f59a-46b1-9561-7469f01a934b" providerId="ADAL" clId="{9FDA4BA0-A2F5-4699-A86C-68FAFD75DF40}" dt="2019-02-22T07:05:56.669" v="7" actId="2696"/>
        <pc:sldMkLst>
          <pc:docMk/>
          <pc:sldMk cId="2834550763" sldId="284"/>
        </pc:sldMkLst>
      </pc:sldChg>
      <pc:sldChg chg="del">
        <pc:chgData name="Сергій Крючатов" userId="8e7a03ca-f59a-46b1-9561-7469f01a934b" providerId="ADAL" clId="{9FDA4BA0-A2F5-4699-A86C-68FAFD75DF40}" dt="2019-02-22T07:05:32.381" v="5" actId="2696"/>
        <pc:sldMkLst>
          <pc:docMk/>
          <pc:sldMk cId="3079440825" sldId="286"/>
        </pc:sldMkLst>
      </pc:sldChg>
      <pc:sldChg chg="del">
        <pc:chgData name="Сергій Крючатов" userId="8e7a03ca-f59a-46b1-9561-7469f01a934b" providerId="ADAL" clId="{9FDA4BA0-A2F5-4699-A86C-68FAFD75DF40}" dt="2019-02-22T10:58:56.810" v="2108" actId="2696"/>
        <pc:sldMkLst>
          <pc:docMk/>
          <pc:sldMk cId="1373427620" sldId="288"/>
        </pc:sldMkLst>
      </pc:sldChg>
      <pc:sldChg chg="del">
        <pc:chgData name="Сергій Крючатов" userId="8e7a03ca-f59a-46b1-9561-7469f01a934b" providerId="ADAL" clId="{9FDA4BA0-A2F5-4699-A86C-68FAFD75DF40}" dt="2019-02-22T10:58:56.839" v="2109" actId="2696"/>
        <pc:sldMkLst>
          <pc:docMk/>
          <pc:sldMk cId="2068382307" sldId="289"/>
        </pc:sldMkLst>
      </pc:sldChg>
      <pc:sldChg chg="del">
        <pc:chgData name="Сергій Крючатов" userId="8e7a03ca-f59a-46b1-9561-7469f01a934b" providerId="ADAL" clId="{9FDA4BA0-A2F5-4699-A86C-68FAFD75DF40}" dt="2019-02-22T10:58:56.770" v="2107" actId="2696"/>
        <pc:sldMkLst>
          <pc:docMk/>
          <pc:sldMk cId="3802797804" sldId="291"/>
        </pc:sldMkLst>
      </pc:sldChg>
      <pc:sldChg chg="del">
        <pc:chgData name="Сергій Крючатов" userId="8e7a03ca-f59a-46b1-9561-7469f01a934b" providerId="ADAL" clId="{9FDA4BA0-A2F5-4699-A86C-68FAFD75DF40}" dt="2019-02-22T10:58:56.410" v="2098" actId="2696"/>
        <pc:sldMkLst>
          <pc:docMk/>
          <pc:sldMk cId="1446590343" sldId="293"/>
        </pc:sldMkLst>
      </pc:sldChg>
      <pc:sldChg chg="del">
        <pc:chgData name="Сергій Крючатов" userId="8e7a03ca-f59a-46b1-9561-7469f01a934b" providerId="ADAL" clId="{9FDA4BA0-A2F5-4699-A86C-68FAFD75DF40}" dt="2019-02-22T10:58:56.370" v="2097" actId="2696"/>
        <pc:sldMkLst>
          <pc:docMk/>
          <pc:sldMk cId="264994150" sldId="294"/>
        </pc:sldMkLst>
      </pc:sldChg>
      <pc:sldChg chg="del">
        <pc:chgData name="Сергій Крючатов" userId="8e7a03ca-f59a-46b1-9561-7469f01a934b" providerId="ADAL" clId="{9FDA4BA0-A2F5-4699-A86C-68FAFD75DF40}" dt="2019-02-22T10:58:56.600" v="2103" actId="2696"/>
        <pc:sldMkLst>
          <pc:docMk/>
          <pc:sldMk cId="1303991165" sldId="295"/>
        </pc:sldMkLst>
      </pc:sldChg>
      <pc:sldChg chg="del">
        <pc:chgData name="Сергій Крючатов" userId="8e7a03ca-f59a-46b1-9561-7469f01a934b" providerId="ADAL" clId="{9FDA4BA0-A2F5-4699-A86C-68FAFD75DF40}" dt="2019-02-22T10:58:56.450" v="2099" actId="2696"/>
        <pc:sldMkLst>
          <pc:docMk/>
          <pc:sldMk cId="2767522738" sldId="297"/>
        </pc:sldMkLst>
      </pc:sldChg>
      <pc:sldChg chg="del">
        <pc:chgData name="Сергій Крючатов" userId="8e7a03ca-f59a-46b1-9561-7469f01a934b" providerId="ADAL" clId="{9FDA4BA0-A2F5-4699-A86C-68FAFD75DF40}" dt="2019-02-22T10:58:56.484" v="2100" actId="2696"/>
        <pc:sldMkLst>
          <pc:docMk/>
          <pc:sldMk cId="486190268" sldId="298"/>
        </pc:sldMkLst>
      </pc:sldChg>
      <pc:sldChg chg="del">
        <pc:chgData name="Сергій Крючатов" userId="8e7a03ca-f59a-46b1-9561-7469f01a934b" providerId="ADAL" clId="{9FDA4BA0-A2F5-4699-A86C-68FAFD75DF40}" dt="2019-02-22T10:58:56.534" v="2101" actId="2696"/>
        <pc:sldMkLst>
          <pc:docMk/>
          <pc:sldMk cId="107077234" sldId="299"/>
        </pc:sldMkLst>
      </pc:sldChg>
      <pc:sldChg chg="del">
        <pc:chgData name="Сергій Крючатов" userId="8e7a03ca-f59a-46b1-9561-7469f01a934b" providerId="ADAL" clId="{9FDA4BA0-A2F5-4699-A86C-68FAFD75DF40}" dt="2019-02-22T07:06:09.923" v="10" actId="2696"/>
        <pc:sldMkLst>
          <pc:docMk/>
          <pc:sldMk cId="4022425779" sldId="300"/>
        </pc:sldMkLst>
      </pc:sldChg>
      <pc:sldChg chg="del">
        <pc:chgData name="Сергій Крючатов" userId="8e7a03ca-f59a-46b1-9561-7469f01a934b" providerId="ADAL" clId="{9FDA4BA0-A2F5-4699-A86C-68FAFD75DF40}" dt="2019-02-22T10:58:56.639" v="2104" actId="2696"/>
        <pc:sldMkLst>
          <pc:docMk/>
          <pc:sldMk cId="3877968033" sldId="302"/>
        </pc:sldMkLst>
      </pc:sldChg>
      <pc:sldChg chg="del">
        <pc:chgData name="Сергій Крючатов" userId="8e7a03ca-f59a-46b1-9561-7469f01a934b" providerId="ADAL" clId="{9FDA4BA0-A2F5-4699-A86C-68FAFD75DF40}" dt="2019-02-22T10:58:56.690" v="2105" actId="2696"/>
        <pc:sldMkLst>
          <pc:docMk/>
          <pc:sldMk cId="4087951115" sldId="303"/>
        </pc:sldMkLst>
      </pc:sldChg>
      <pc:sldChg chg="del">
        <pc:chgData name="Сергій Крючатов" userId="8e7a03ca-f59a-46b1-9561-7469f01a934b" providerId="ADAL" clId="{9FDA4BA0-A2F5-4699-A86C-68FAFD75DF40}" dt="2019-02-22T10:58:56.864" v="2110" actId="2696"/>
        <pc:sldMkLst>
          <pc:docMk/>
          <pc:sldMk cId="109682307" sldId="304"/>
        </pc:sldMkLst>
      </pc:sldChg>
      <pc:sldChg chg="del">
        <pc:chgData name="Сергій Крючатов" userId="8e7a03ca-f59a-46b1-9561-7469f01a934b" providerId="ADAL" clId="{9FDA4BA0-A2F5-4699-A86C-68FAFD75DF40}" dt="2019-02-22T10:58:56.900" v="2111" actId="2696"/>
        <pc:sldMkLst>
          <pc:docMk/>
          <pc:sldMk cId="2763052783" sldId="305"/>
        </pc:sldMkLst>
      </pc:sldChg>
      <pc:sldChg chg="del">
        <pc:chgData name="Сергій Крючатов" userId="8e7a03ca-f59a-46b1-9561-7469f01a934b" providerId="ADAL" clId="{9FDA4BA0-A2F5-4699-A86C-68FAFD75DF40}" dt="2019-02-22T10:58:57.010" v="2115" actId="2696"/>
        <pc:sldMkLst>
          <pc:docMk/>
          <pc:sldMk cId="1296516135" sldId="306"/>
        </pc:sldMkLst>
      </pc:sldChg>
      <pc:sldChg chg="del">
        <pc:chgData name="Сергій Крючатов" userId="8e7a03ca-f59a-46b1-9561-7469f01a934b" providerId="ADAL" clId="{9FDA4BA0-A2F5-4699-A86C-68FAFD75DF40}" dt="2019-02-22T10:58:57.053" v="2116" actId="2696"/>
        <pc:sldMkLst>
          <pc:docMk/>
          <pc:sldMk cId="1626190553" sldId="310"/>
        </pc:sldMkLst>
      </pc:sldChg>
      <pc:sldChg chg="del">
        <pc:chgData name="Сергій Крючатов" userId="8e7a03ca-f59a-46b1-9561-7469f01a934b" providerId="ADAL" clId="{9FDA4BA0-A2F5-4699-A86C-68FAFD75DF40}" dt="2019-02-22T10:58:57.074" v="2117" actId="2696"/>
        <pc:sldMkLst>
          <pc:docMk/>
          <pc:sldMk cId="3366817405" sldId="311"/>
        </pc:sldMkLst>
      </pc:sldChg>
      <pc:sldChg chg="del">
        <pc:chgData name="Сергій Крючатов" userId="8e7a03ca-f59a-46b1-9561-7469f01a934b" providerId="ADAL" clId="{9FDA4BA0-A2F5-4699-A86C-68FAFD75DF40}" dt="2019-02-22T10:58:57.110" v="2118" actId="2696"/>
        <pc:sldMkLst>
          <pc:docMk/>
          <pc:sldMk cId="1199112191" sldId="312"/>
        </pc:sldMkLst>
      </pc:sldChg>
      <pc:sldChg chg="del">
        <pc:chgData name="Сергій Крючатов" userId="8e7a03ca-f59a-46b1-9561-7469f01a934b" providerId="ADAL" clId="{9FDA4BA0-A2F5-4699-A86C-68FAFD75DF40}" dt="2019-02-22T10:58:57.150" v="2119" actId="2696"/>
        <pc:sldMkLst>
          <pc:docMk/>
          <pc:sldMk cId="3939938195" sldId="314"/>
        </pc:sldMkLst>
      </pc:sldChg>
      <pc:sldChg chg="del">
        <pc:chgData name="Сергій Крючатов" userId="8e7a03ca-f59a-46b1-9561-7469f01a934b" providerId="ADAL" clId="{9FDA4BA0-A2F5-4699-A86C-68FAFD75DF40}" dt="2019-02-22T10:58:57.224" v="2121" actId="2696"/>
        <pc:sldMkLst>
          <pc:docMk/>
          <pc:sldMk cId="3300452708" sldId="315"/>
        </pc:sldMkLst>
      </pc:sldChg>
      <pc:sldChg chg="del">
        <pc:chgData name="Сергій Крючатов" userId="8e7a03ca-f59a-46b1-9561-7469f01a934b" providerId="ADAL" clId="{9FDA4BA0-A2F5-4699-A86C-68FAFD75DF40}" dt="2019-02-22T10:58:58.507" v="2137" actId="2696"/>
        <pc:sldMkLst>
          <pc:docMk/>
          <pc:sldMk cId="1676630483" sldId="317"/>
        </pc:sldMkLst>
      </pc:sldChg>
      <pc:sldChg chg="del">
        <pc:chgData name="Сергій Крючатов" userId="8e7a03ca-f59a-46b1-9561-7469f01a934b" providerId="ADAL" clId="{9FDA4BA0-A2F5-4699-A86C-68FAFD75DF40}" dt="2019-02-22T10:58:57.253" v="2122" actId="2696"/>
        <pc:sldMkLst>
          <pc:docMk/>
          <pc:sldMk cId="3550900966" sldId="319"/>
        </pc:sldMkLst>
      </pc:sldChg>
      <pc:sldChg chg="del">
        <pc:chgData name="Сергій Крючатов" userId="8e7a03ca-f59a-46b1-9561-7469f01a934b" providerId="ADAL" clId="{9FDA4BA0-A2F5-4699-A86C-68FAFD75DF40}" dt="2019-02-22T07:06:23.859" v="14" actId="2696"/>
        <pc:sldMkLst>
          <pc:docMk/>
          <pc:sldMk cId="2526121584" sldId="320"/>
        </pc:sldMkLst>
      </pc:sldChg>
      <pc:sldChg chg="del">
        <pc:chgData name="Сергій Крючатов" userId="8e7a03ca-f59a-46b1-9561-7469f01a934b" providerId="ADAL" clId="{9FDA4BA0-A2F5-4699-A86C-68FAFD75DF40}" dt="2019-02-22T07:06:29.394" v="17" actId="2696"/>
        <pc:sldMkLst>
          <pc:docMk/>
          <pc:sldMk cId="47450358" sldId="324"/>
        </pc:sldMkLst>
      </pc:sldChg>
      <pc:sldChg chg="del">
        <pc:chgData name="Сергій Крючатов" userId="8e7a03ca-f59a-46b1-9561-7469f01a934b" providerId="ADAL" clId="{9FDA4BA0-A2F5-4699-A86C-68FAFD75DF40}" dt="2019-02-22T10:58:57.324" v="2124" actId="2696"/>
        <pc:sldMkLst>
          <pc:docMk/>
          <pc:sldMk cId="2006598289" sldId="325"/>
        </pc:sldMkLst>
      </pc:sldChg>
      <pc:sldChg chg="del">
        <pc:chgData name="Сергій Крючатов" userId="8e7a03ca-f59a-46b1-9561-7469f01a934b" providerId="ADAL" clId="{9FDA4BA0-A2F5-4699-A86C-68FAFD75DF40}" dt="2019-02-22T10:58:57.353" v="2125" actId="2696"/>
        <pc:sldMkLst>
          <pc:docMk/>
          <pc:sldMk cId="4128229771" sldId="327"/>
        </pc:sldMkLst>
      </pc:sldChg>
      <pc:sldChg chg="del">
        <pc:chgData name="Сергій Крючатов" userId="8e7a03ca-f59a-46b1-9561-7469f01a934b" providerId="ADAL" clId="{9FDA4BA0-A2F5-4699-A86C-68FAFD75DF40}" dt="2019-02-22T10:58:57.400" v="2126" actId="2696"/>
        <pc:sldMkLst>
          <pc:docMk/>
          <pc:sldMk cId="650163037" sldId="328"/>
        </pc:sldMkLst>
      </pc:sldChg>
      <pc:sldChg chg="del">
        <pc:chgData name="Сергій Крючатов" userId="8e7a03ca-f59a-46b1-9561-7469f01a934b" providerId="ADAL" clId="{9FDA4BA0-A2F5-4699-A86C-68FAFD75DF40}" dt="2019-02-22T10:58:57.631" v="2127" actId="2696"/>
        <pc:sldMkLst>
          <pc:docMk/>
          <pc:sldMk cId="3225591297" sldId="329"/>
        </pc:sldMkLst>
      </pc:sldChg>
      <pc:sldChg chg="del">
        <pc:chgData name="Сергій Крючатов" userId="8e7a03ca-f59a-46b1-9561-7469f01a934b" providerId="ADAL" clId="{9FDA4BA0-A2F5-4699-A86C-68FAFD75DF40}" dt="2019-02-22T10:58:58.283" v="2130" actId="2696"/>
        <pc:sldMkLst>
          <pc:docMk/>
          <pc:sldMk cId="993690937" sldId="330"/>
        </pc:sldMkLst>
      </pc:sldChg>
      <pc:sldChg chg="del">
        <pc:chgData name="Сергій Крючатов" userId="8e7a03ca-f59a-46b1-9561-7469f01a934b" providerId="ADAL" clId="{9FDA4BA0-A2F5-4699-A86C-68FAFD75DF40}" dt="2019-02-22T10:58:58.253" v="2129" actId="2696"/>
        <pc:sldMkLst>
          <pc:docMk/>
          <pc:sldMk cId="1843371712" sldId="331"/>
        </pc:sldMkLst>
      </pc:sldChg>
      <pc:sldChg chg="del">
        <pc:chgData name="Сергій Крючатов" userId="8e7a03ca-f59a-46b1-9561-7469f01a934b" providerId="ADAL" clId="{9FDA4BA0-A2F5-4699-A86C-68FAFD75DF40}" dt="2019-02-22T10:58:58.709" v="2143" actId="2696"/>
        <pc:sldMkLst>
          <pc:docMk/>
          <pc:sldMk cId="3840043233" sldId="333"/>
        </pc:sldMkLst>
      </pc:sldChg>
      <pc:sldChg chg="del">
        <pc:chgData name="Сергій Крючатов" userId="8e7a03ca-f59a-46b1-9561-7469f01a934b" providerId="ADAL" clId="{9FDA4BA0-A2F5-4699-A86C-68FAFD75DF40}" dt="2019-02-22T10:58:58.313" v="2131" actId="2696"/>
        <pc:sldMkLst>
          <pc:docMk/>
          <pc:sldMk cId="2596236423" sldId="334"/>
        </pc:sldMkLst>
      </pc:sldChg>
      <pc:sldChg chg="del">
        <pc:chgData name="Сергій Крючатов" userId="8e7a03ca-f59a-46b1-9561-7469f01a934b" providerId="ADAL" clId="{9FDA4BA0-A2F5-4699-A86C-68FAFD75DF40}" dt="2019-02-22T10:58:56.734" v="2106" actId="2696"/>
        <pc:sldMkLst>
          <pc:docMk/>
          <pc:sldMk cId="1117689193" sldId="335"/>
        </pc:sldMkLst>
      </pc:sldChg>
      <pc:sldChg chg="del">
        <pc:chgData name="Сергій Крючатов" userId="8e7a03ca-f59a-46b1-9561-7469f01a934b" providerId="ADAL" clId="{9FDA4BA0-A2F5-4699-A86C-68FAFD75DF40}" dt="2019-02-22T10:58:58.347" v="2132" actId="2696"/>
        <pc:sldMkLst>
          <pc:docMk/>
          <pc:sldMk cId="1479821879" sldId="338"/>
        </pc:sldMkLst>
      </pc:sldChg>
      <pc:sldChg chg="del">
        <pc:chgData name="Сергій Крючатов" userId="8e7a03ca-f59a-46b1-9561-7469f01a934b" providerId="ADAL" clId="{9FDA4BA0-A2F5-4699-A86C-68FAFD75DF40}" dt="2019-02-22T10:58:58.389" v="2133" actId="2696"/>
        <pc:sldMkLst>
          <pc:docMk/>
          <pc:sldMk cId="2643164839" sldId="339"/>
        </pc:sldMkLst>
      </pc:sldChg>
      <pc:sldChg chg="del">
        <pc:chgData name="Сергій Крючатов" userId="8e7a03ca-f59a-46b1-9561-7469f01a934b" providerId="ADAL" clId="{9FDA4BA0-A2F5-4699-A86C-68FAFD75DF40}" dt="2019-02-22T10:58:58.453" v="2135" actId="2696"/>
        <pc:sldMkLst>
          <pc:docMk/>
          <pc:sldMk cId="1366511052" sldId="340"/>
        </pc:sldMkLst>
      </pc:sldChg>
      <pc:sldChg chg="del">
        <pc:chgData name="Сергій Крючатов" userId="8e7a03ca-f59a-46b1-9561-7469f01a934b" providerId="ADAL" clId="{9FDA4BA0-A2F5-4699-A86C-68FAFD75DF40}" dt="2019-02-22T10:58:57.180" v="2120" actId="2696"/>
        <pc:sldMkLst>
          <pc:docMk/>
          <pc:sldMk cId="611723024" sldId="341"/>
        </pc:sldMkLst>
      </pc:sldChg>
      <pc:sldChg chg="del">
        <pc:chgData name="Сергій Крючатов" userId="8e7a03ca-f59a-46b1-9561-7469f01a934b" providerId="ADAL" clId="{9FDA4BA0-A2F5-4699-A86C-68FAFD75DF40}" dt="2019-02-22T10:58:58.483" v="2136" actId="2696"/>
        <pc:sldMkLst>
          <pc:docMk/>
          <pc:sldMk cId="3870025574" sldId="343"/>
        </pc:sldMkLst>
      </pc:sldChg>
      <pc:sldChg chg="del">
        <pc:chgData name="Сергій Крючатов" userId="8e7a03ca-f59a-46b1-9561-7469f01a934b" providerId="ADAL" clId="{9FDA4BA0-A2F5-4699-A86C-68FAFD75DF40}" dt="2019-02-22T10:58:59.114" v="2155" actId="2696"/>
        <pc:sldMkLst>
          <pc:docMk/>
          <pc:sldMk cId="2217405143" sldId="345"/>
        </pc:sldMkLst>
      </pc:sldChg>
      <pc:sldChg chg="del">
        <pc:chgData name="Сергій Крючатов" userId="8e7a03ca-f59a-46b1-9561-7469f01a934b" providerId="ADAL" clId="{9FDA4BA0-A2F5-4699-A86C-68FAFD75DF40}" dt="2019-02-22T10:58:58.730" v="2144" actId="2696"/>
        <pc:sldMkLst>
          <pc:docMk/>
          <pc:sldMk cId="800667107" sldId="346"/>
        </pc:sldMkLst>
      </pc:sldChg>
      <pc:sldChg chg="del">
        <pc:chgData name="Сергій Крючатов" userId="8e7a03ca-f59a-46b1-9561-7469f01a934b" providerId="ADAL" clId="{9FDA4BA0-A2F5-4699-A86C-68FAFD75DF40}" dt="2019-02-22T07:06:32.513" v="19" actId="2696"/>
        <pc:sldMkLst>
          <pc:docMk/>
          <pc:sldMk cId="1612553725" sldId="347"/>
        </pc:sldMkLst>
      </pc:sldChg>
      <pc:sldChg chg="del">
        <pc:chgData name="Сергій Крючатов" userId="8e7a03ca-f59a-46b1-9561-7469f01a934b" providerId="ADAL" clId="{9FDA4BA0-A2F5-4699-A86C-68FAFD75DF40}" dt="2019-02-22T10:58:58.780" v="2145" actId="2696"/>
        <pc:sldMkLst>
          <pc:docMk/>
          <pc:sldMk cId="4128299272" sldId="348"/>
        </pc:sldMkLst>
      </pc:sldChg>
      <pc:sldChg chg="del">
        <pc:chgData name="Сергій Крючатов" userId="8e7a03ca-f59a-46b1-9561-7469f01a934b" providerId="ADAL" clId="{9FDA4BA0-A2F5-4699-A86C-68FAFD75DF40}" dt="2019-02-22T10:58:58.894" v="2148" actId="2696"/>
        <pc:sldMkLst>
          <pc:docMk/>
          <pc:sldMk cId="2267825108" sldId="349"/>
        </pc:sldMkLst>
      </pc:sldChg>
      <pc:sldChg chg="del">
        <pc:chgData name="Сергій Крючатов" userId="8e7a03ca-f59a-46b1-9561-7469f01a934b" providerId="ADAL" clId="{9FDA4BA0-A2F5-4699-A86C-68FAFD75DF40}" dt="2019-02-22T10:58:58.963" v="2150" actId="2696"/>
        <pc:sldMkLst>
          <pc:docMk/>
          <pc:sldMk cId="3156707385" sldId="350"/>
        </pc:sldMkLst>
      </pc:sldChg>
      <pc:sldChg chg="del">
        <pc:chgData name="Сергій Крючатов" userId="8e7a03ca-f59a-46b1-9561-7469f01a934b" providerId="ADAL" clId="{9FDA4BA0-A2F5-4699-A86C-68FAFD75DF40}" dt="2019-02-22T10:58:58.431" v="2134" actId="2696"/>
        <pc:sldMkLst>
          <pc:docMk/>
          <pc:sldMk cId="2057086127" sldId="352"/>
        </pc:sldMkLst>
      </pc:sldChg>
      <pc:sldChg chg="del">
        <pc:chgData name="Сергій Крючатов" userId="8e7a03ca-f59a-46b1-9561-7469f01a934b" providerId="ADAL" clId="{9FDA4BA0-A2F5-4699-A86C-68FAFD75DF40}" dt="2019-02-22T10:58:58.930" v="2149" actId="2696"/>
        <pc:sldMkLst>
          <pc:docMk/>
          <pc:sldMk cId="388075958" sldId="354"/>
        </pc:sldMkLst>
      </pc:sldChg>
      <pc:sldChg chg="del">
        <pc:chgData name="Сергій Крючатов" userId="8e7a03ca-f59a-46b1-9561-7469f01a934b" providerId="ADAL" clId="{9FDA4BA0-A2F5-4699-A86C-68FAFD75DF40}" dt="2019-02-22T10:58:58.860" v="2147" actId="2696"/>
        <pc:sldMkLst>
          <pc:docMk/>
          <pc:sldMk cId="1291341463" sldId="355"/>
        </pc:sldMkLst>
      </pc:sldChg>
      <pc:sldChg chg="del">
        <pc:chgData name="Сергій Крючатов" userId="8e7a03ca-f59a-46b1-9561-7469f01a934b" providerId="ADAL" clId="{9FDA4BA0-A2F5-4699-A86C-68FAFD75DF40}" dt="2019-02-22T10:58:59.330" v="2162" actId="2696"/>
        <pc:sldMkLst>
          <pc:docMk/>
          <pc:sldMk cId="2259192156" sldId="357"/>
        </pc:sldMkLst>
      </pc:sldChg>
      <pc:sldChg chg="del">
        <pc:chgData name="Сергій Крючатов" userId="8e7a03ca-f59a-46b1-9561-7469f01a934b" providerId="ADAL" clId="{9FDA4BA0-A2F5-4699-A86C-68FAFD75DF40}" dt="2019-02-22T10:58:59.070" v="2154" actId="2696"/>
        <pc:sldMkLst>
          <pc:docMk/>
          <pc:sldMk cId="1934105791" sldId="358"/>
        </pc:sldMkLst>
      </pc:sldChg>
      <pc:sldChg chg="del">
        <pc:chgData name="Сергій Крючатов" userId="8e7a03ca-f59a-46b1-9561-7469f01a934b" providerId="ADAL" clId="{9FDA4BA0-A2F5-4699-A86C-68FAFD75DF40}" dt="2019-02-22T10:58:58.684" v="2142" actId="2696"/>
        <pc:sldMkLst>
          <pc:docMk/>
          <pc:sldMk cId="3064152086" sldId="359"/>
        </pc:sldMkLst>
      </pc:sldChg>
      <pc:sldChg chg="del">
        <pc:chgData name="Сергій Крючатов" userId="8e7a03ca-f59a-46b1-9561-7469f01a934b" providerId="ADAL" clId="{9FDA4BA0-A2F5-4699-A86C-68FAFD75DF40}" dt="2019-02-22T10:58:58.820" v="2146" actId="2696"/>
        <pc:sldMkLst>
          <pc:docMk/>
          <pc:sldMk cId="4167805294" sldId="367"/>
        </pc:sldMkLst>
      </pc:sldChg>
      <pc:sldChg chg="del">
        <pc:chgData name="Сергій Крючатов" userId="8e7a03ca-f59a-46b1-9561-7469f01a934b" providerId="ADAL" clId="{9FDA4BA0-A2F5-4699-A86C-68FAFD75DF40}" dt="2019-02-22T10:58:58.222" v="2128" actId="2696"/>
        <pc:sldMkLst>
          <pc:docMk/>
          <pc:sldMk cId="598996256" sldId="371"/>
        </pc:sldMkLst>
      </pc:sldChg>
      <pc:sldChg chg="del">
        <pc:chgData name="Сергій Крючатов" userId="8e7a03ca-f59a-46b1-9561-7469f01a934b" providerId="ADAL" clId="{9FDA4BA0-A2F5-4699-A86C-68FAFD75DF40}" dt="2019-02-22T10:58:59.370" v="2163" actId="2696"/>
        <pc:sldMkLst>
          <pc:docMk/>
          <pc:sldMk cId="103929456" sldId="372"/>
        </pc:sldMkLst>
      </pc:sldChg>
      <pc:sldChg chg="del">
        <pc:chgData name="Сергій Крючатов" userId="8e7a03ca-f59a-46b1-9561-7469f01a934b" providerId="ADAL" clId="{9FDA4BA0-A2F5-4699-A86C-68FAFD75DF40}" dt="2019-02-22T10:58:59.440" v="2164" actId="2696"/>
        <pc:sldMkLst>
          <pc:docMk/>
          <pc:sldMk cId="3475145668" sldId="373"/>
        </pc:sldMkLst>
      </pc:sldChg>
      <pc:sldChg chg="del">
        <pc:chgData name="Сергій Крючатов" userId="8e7a03ca-f59a-46b1-9561-7469f01a934b" providerId="ADAL" clId="{9FDA4BA0-A2F5-4699-A86C-68FAFD75DF40}" dt="2019-02-22T10:58:59.464" v="2165" actId="2696"/>
        <pc:sldMkLst>
          <pc:docMk/>
          <pc:sldMk cId="2064438559" sldId="374"/>
        </pc:sldMkLst>
      </pc:sldChg>
      <pc:sldChg chg="del">
        <pc:chgData name="Сергій Крючатов" userId="8e7a03ca-f59a-46b1-9561-7469f01a934b" providerId="ADAL" clId="{9FDA4BA0-A2F5-4699-A86C-68FAFD75DF40}" dt="2019-02-22T10:58:59.500" v="2166" actId="2696"/>
        <pc:sldMkLst>
          <pc:docMk/>
          <pc:sldMk cId="3594956988" sldId="375"/>
        </pc:sldMkLst>
      </pc:sldChg>
      <pc:sldChg chg="del">
        <pc:chgData name="Сергій Крючатов" userId="8e7a03ca-f59a-46b1-9561-7469f01a934b" providerId="ADAL" clId="{9FDA4BA0-A2F5-4699-A86C-68FAFD75DF40}" dt="2019-02-22T10:58:59.554" v="2168" actId="2696"/>
        <pc:sldMkLst>
          <pc:docMk/>
          <pc:sldMk cId="1124337220" sldId="376"/>
        </pc:sldMkLst>
      </pc:sldChg>
      <pc:sldChg chg="del">
        <pc:chgData name="Сергій Крючатов" userId="8e7a03ca-f59a-46b1-9561-7469f01a934b" providerId="ADAL" clId="{9FDA4BA0-A2F5-4699-A86C-68FAFD75DF40}" dt="2019-02-22T10:58:59.230" v="2158" actId="2696"/>
        <pc:sldMkLst>
          <pc:docMk/>
          <pc:sldMk cId="354578724" sldId="379"/>
        </pc:sldMkLst>
      </pc:sldChg>
      <pc:sldChg chg="del">
        <pc:chgData name="Сергій Крючатов" userId="8e7a03ca-f59a-46b1-9561-7469f01a934b" providerId="ADAL" clId="{9FDA4BA0-A2F5-4699-A86C-68FAFD75DF40}" dt="2019-02-22T10:58:59.140" v="2156" actId="2696"/>
        <pc:sldMkLst>
          <pc:docMk/>
          <pc:sldMk cId="1685178376" sldId="380"/>
        </pc:sldMkLst>
      </pc:sldChg>
      <pc:sldChg chg="del">
        <pc:chgData name="Сергій Крючатов" userId="8e7a03ca-f59a-46b1-9561-7469f01a934b" providerId="ADAL" clId="{9FDA4BA0-A2F5-4699-A86C-68FAFD75DF40}" dt="2019-02-22T10:58:59.270" v="2159" actId="2696"/>
        <pc:sldMkLst>
          <pc:docMk/>
          <pc:sldMk cId="2323160646" sldId="381"/>
        </pc:sldMkLst>
      </pc:sldChg>
      <pc:sldChg chg="del">
        <pc:chgData name="Сергій Крючатов" userId="8e7a03ca-f59a-46b1-9561-7469f01a934b" providerId="ADAL" clId="{9FDA4BA0-A2F5-4699-A86C-68FAFD75DF40}" dt="2019-02-22T10:58:59.184" v="2157" actId="2696"/>
        <pc:sldMkLst>
          <pc:docMk/>
          <pc:sldMk cId="2162987350" sldId="382"/>
        </pc:sldMkLst>
      </pc:sldChg>
      <pc:sldChg chg="del">
        <pc:chgData name="Сергій Крючатов" userId="8e7a03ca-f59a-46b1-9561-7469f01a934b" providerId="ADAL" clId="{9FDA4BA0-A2F5-4699-A86C-68FAFD75DF40}" dt="2019-02-22T10:58:59.280" v="2160" actId="2696"/>
        <pc:sldMkLst>
          <pc:docMk/>
          <pc:sldMk cId="4255445478" sldId="383"/>
        </pc:sldMkLst>
      </pc:sldChg>
      <pc:sldChg chg="del">
        <pc:chgData name="Сергій Крючатов" userId="8e7a03ca-f59a-46b1-9561-7469f01a934b" providerId="ADAL" clId="{9FDA4BA0-A2F5-4699-A86C-68FAFD75DF40}" dt="2019-02-22T07:22:28.949" v="87" actId="2696"/>
        <pc:sldMkLst>
          <pc:docMk/>
          <pc:sldMk cId="1073353049" sldId="384"/>
        </pc:sldMkLst>
      </pc:sldChg>
      <pc:sldChg chg="del">
        <pc:chgData name="Сергій Крючатов" userId="8e7a03ca-f59a-46b1-9561-7469f01a934b" providerId="ADAL" clId="{9FDA4BA0-A2F5-4699-A86C-68FAFD75DF40}" dt="2019-02-22T07:22:28.934" v="86" actId="2696"/>
        <pc:sldMkLst>
          <pc:docMk/>
          <pc:sldMk cId="2456131664" sldId="385"/>
        </pc:sldMkLst>
      </pc:sldChg>
      <pc:sldChg chg="del">
        <pc:chgData name="Сергій Крючатов" userId="8e7a03ca-f59a-46b1-9561-7469f01a934b" providerId="ADAL" clId="{9FDA4BA0-A2F5-4699-A86C-68FAFD75DF40}" dt="2019-02-22T07:22:25.744" v="78" actId="2696"/>
        <pc:sldMkLst>
          <pc:docMk/>
          <pc:sldMk cId="1286582924" sldId="386"/>
        </pc:sldMkLst>
      </pc:sldChg>
      <pc:sldChg chg="del">
        <pc:chgData name="Сергій Крючатов" userId="8e7a03ca-f59a-46b1-9561-7469f01a934b" providerId="ADAL" clId="{9FDA4BA0-A2F5-4699-A86C-68FAFD75DF40}" dt="2019-02-22T07:22:28.878" v="84" actId="2696"/>
        <pc:sldMkLst>
          <pc:docMk/>
          <pc:sldMk cId="3272099385" sldId="387"/>
        </pc:sldMkLst>
      </pc:sldChg>
      <pc:sldChg chg="del">
        <pc:chgData name="Сергій Крючатов" userId="8e7a03ca-f59a-46b1-9561-7469f01a934b" providerId="ADAL" clId="{9FDA4BA0-A2F5-4699-A86C-68FAFD75DF40}" dt="2019-02-22T07:22:28.848" v="82" actId="2696"/>
        <pc:sldMkLst>
          <pc:docMk/>
          <pc:sldMk cId="2987915174" sldId="389"/>
        </pc:sldMkLst>
      </pc:sldChg>
      <pc:sldChg chg="del">
        <pc:chgData name="Сергій Крючатов" userId="8e7a03ca-f59a-46b1-9561-7469f01a934b" providerId="ADAL" clId="{9FDA4BA0-A2F5-4699-A86C-68FAFD75DF40}" dt="2019-02-22T07:22:28.917" v="85" actId="2696"/>
        <pc:sldMkLst>
          <pc:docMk/>
          <pc:sldMk cId="1491529647" sldId="390"/>
        </pc:sldMkLst>
      </pc:sldChg>
      <pc:sldChg chg="del">
        <pc:chgData name="Сергій Крючатов" userId="8e7a03ca-f59a-46b1-9561-7469f01a934b" providerId="ADAL" clId="{9FDA4BA0-A2F5-4699-A86C-68FAFD75DF40}" dt="2019-02-22T07:22:25.715" v="77" actId="2696"/>
        <pc:sldMkLst>
          <pc:docMk/>
          <pc:sldMk cId="3053951564" sldId="391"/>
        </pc:sldMkLst>
      </pc:sldChg>
      <pc:sldChg chg="del">
        <pc:chgData name="Сергій Крючатов" userId="8e7a03ca-f59a-46b1-9561-7469f01a934b" providerId="ADAL" clId="{9FDA4BA0-A2F5-4699-A86C-68FAFD75DF40}" dt="2019-02-22T07:22:25.758" v="79" actId="2696"/>
        <pc:sldMkLst>
          <pc:docMk/>
          <pc:sldMk cId="1047401850" sldId="392"/>
        </pc:sldMkLst>
      </pc:sldChg>
      <pc:sldChg chg="del">
        <pc:chgData name="Сергій Крючатов" userId="8e7a03ca-f59a-46b1-9561-7469f01a934b" providerId="ADAL" clId="{9FDA4BA0-A2F5-4699-A86C-68FAFD75DF40}" dt="2019-02-22T07:22:25.705" v="76" actId="2696"/>
        <pc:sldMkLst>
          <pc:docMk/>
          <pc:sldMk cId="724971116" sldId="393"/>
        </pc:sldMkLst>
      </pc:sldChg>
      <pc:sldChg chg="del">
        <pc:chgData name="Сергій Крючатов" userId="8e7a03ca-f59a-46b1-9561-7469f01a934b" providerId="ADAL" clId="{9FDA4BA0-A2F5-4699-A86C-68FAFD75DF40}" dt="2019-02-22T07:22:16.845" v="63" actId="2696"/>
        <pc:sldMkLst>
          <pc:docMk/>
          <pc:sldMk cId="3968500220" sldId="395"/>
        </pc:sldMkLst>
      </pc:sldChg>
      <pc:sldChg chg="del">
        <pc:chgData name="Сергій Крючатов" userId="8e7a03ca-f59a-46b1-9561-7469f01a934b" providerId="ADAL" clId="{9FDA4BA0-A2F5-4699-A86C-68FAFD75DF40}" dt="2019-02-22T07:06:46.543" v="20" actId="2696"/>
        <pc:sldMkLst>
          <pc:docMk/>
          <pc:sldMk cId="2578155763" sldId="397"/>
        </pc:sldMkLst>
      </pc:sldChg>
      <pc:sldChg chg="del">
        <pc:chgData name="Сергій Крючатов" userId="8e7a03ca-f59a-46b1-9561-7469f01a934b" providerId="ADAL" clId="{9FDA4BA0-A2F5-4699-A86C-68FAFD75DF40}" dt="2019-02-22T07:22:16.797" v="61" actId="2696"/>
        <pc:sldMkLst>
          <pc:docMk/>
          <pc:sldMk cId="248231970" sldId="401"/>
        </pc:sldMkLst>
      </pc:sldChg>
      <pc:sldChg chg="del">
        <pc:chgData name="Сергій Крючатов" userId="8e7a03ca-f59a-46b1-9561-7469f01a934b" providerId="ADAL" clId="{9FDA4BA0-A2F5-4699-A86C-68FAFD75DF40}" dt="2019-02-22T07:22:16.824" v="62" actId="2696"/>
        <pc:sldMkLst>
          <pc:docMk/>
          <pc:sldMk cId="1250988776" sldId="402"/>
        </pc:sldMkLst>
      </pc:sldChg>
      <pc:sldChg chg="del">
        <pc:chgData name="Сергій Крючатов" userId="8e7a03ca-f59a-46b1-9561-7469f01a934b" providerId="ADAL" clId="{9FDA4BA0-A2F5-4699-A86C-68FAFD75DF40}" dt="2019-02-22T07:22:16.894" v="65" actId="2696"/>
        <pc:sldMkLst>
          <pc:docMk/>
          <pc:sldMk cId="3603381898" sldId="403"/>
        </pc:sldMkLst>
      </pc:sldChg>
      <pc:sldChg chg="del">
        <pc:chgData name="Сергій Крючатов" userId="8e7a03ca-f59a-46b1-9561-7469f01a934b" providerId="ADAL" clId="{9FDA4BA0-A2F5-4699-A86C-68FAFD75DF40}" dt="2019-02-22T07:22:16.875" v="64" actId="2696"/>
        <pc:sldMkLst>
          <pc:docMk/>
          <pc:sldMk cId="1559454479" sldId="404"/>
        </pc:sldMkLst>
      </pc:sldChg>
      <pc:sldChg chg="del">
        <pc:chgData name="Сергій Крючатов" userId="8e7a03ca-f59a-46b1-9561-7469f01a934b" providerId="ADAL" clId="{9FDA4BA0-A2F5-4699-A86C-68FAFD75DF40}" dt="2019-02-22T07:22:16.918" v="66" actId="2696"/>
        <pc:sldMkLst>
          <pc:docMk/>
          <pc:sldMk cId="3843569082" sldId="405"/>
        </pc:sldMkLst>
      </pc:sldChg>
      <pc:sldChg chg="del">
        <pc:chgData name="Сергій Крючатов" userId="8e7a03ca-f59a-46b1-9561-7469f01a934b" providerId="ADAL" clId="{9FDA4BA0-A2F5-4699-A86C-68FAFD75DF40}" dt="2019-02-22T07:22:16.938" v="67" actId="2696"/>
        <pc:sldMkLst>
          <pc:docMk/>
          <pc:sldMk cId="4081096783" sldId="406"/>
        </pc:sldMkLst>
      </pc:sldChg>
      <pc:sldChg chg="del">
        <pc:chgData name="Сергій Крючатов" userId="8e7a03ca-f59a-46b1-9561-7469f01a934b" providerId="ADAL" clId="{9FDA4BA0-A2F5-4699-A86C-68FAFD75DF40}" dt="2019-02-22T07:22:17.304" v="72" actId="2696"/>
        <pc:sldMkLst>
          <pc:docMk/>
          <pc:sldMk cId="4112224043" sldId="407"/>
        </pc:sldMkLst>
      </pc:sldChg>
      <pc:sldChg chg="del">
        <pc:chgData name="Сергій Крючатов" userId="8e7a03ca-f59a-46b1-9561-7469f01a934b" providerId="ADAL" clId="{9FDA4BA0-A2F5-4699-A86C-68FAFD75DF40}" dt="2019-02-22T10:58:59.670" v="2172" actId="2696"/>
        <pc:sldMkLst>
          <pc:docMk/>
          <pc:sldMk cId="2912277755" sldId="409"/>
        </pc:sldMkLst>
      </pc:sldChg>
      <pc:sldChg chg="del">
        <pc:chgData name="Сергій Крючатов" userId="8e7a03ca-f59a-46b1-9561-7469f01a934b" providerId="ADAL" clId="{9FDA4BA0-A2F5-4699-A86C-68FAFD75DF40}" dt="2019-02-22T07:22:17.239" v="71" actId="2696"/>
        <pc:sldMkLst>
          <pc:docMk/>
          <pc:sldMk cId="4003711227" sldId="410"/>
        </pc:sldMkLst>
      </pc:sldChg>
      <pc:sldChg chg="del">
        <pc:chgData name="Сергій Крючатов" userId="8e7a03ca-f59a-46b1-9561-7469f01a934b" providerId="ADAL" clId="{9FDA4BA0-A2F5-4699-A86C-68FAFD75DF40}" dt="2019-02-22T07:22:17.069" v="69" actId="2696"/>
        <pc:sldMkLst>
          <pc:docMk/>
          <pc:sldMk cId="2824243550" sldId="411"/>
        </pc:sldMkLst>
      </pc:sldChg>
      <pc:sldChg chg="del">
        <pc:chgData name="Сергій Крючатов" userId="8e7a03ca-f59a-46b1-9561-7469f01a934b" providerId="ADAL" clId="{9FDA4BA0-A2F5-4699-A86C-68FAFD75DF40}" dt="2019-02-22T10:58:59.620" v="2170" actId="2696"/>
        <pc:sldMkLst>
          <pc:docMk/>
          <pc:sldMk cId="3543499069" sldId="412"/>
        </pc:sldMkLst>
      </pc:sldChg>
      <pc:sldChg chg="del">
        <pc:chgData name="Сергій Крючатов" userId="8e7a03ca-f59a-46b1-9561-7469f01a934b" providerId="ADAL" clId="{9FDA4BA0-A2F5-4699-A86C-68FAFD75DF40}" dt="2019-02-22T07:22:17.184" v="70" actId="2696"/>
        <pc:sldMkLst>
          <pc:docMk/>
          <pc:sldMk cId="2597977033" sldId="415"/>
        </pc:sldMkLst>
      </pc:sldChg>
      <pc:sldChg chg="del">
        <pc:chgData name="Сергій Крючатов" userId="8e7a03ca-f59a-46b1-9561-7469f01a934b" providerId="ADAL" clId="{9FDA4BA0-A2F5-4699-A86C-68FAFD75DF40}" dt="2019-02-22T07:22:17.375" v="73" actId="2696"/>
        <pc:sldMkLst>
          <pc:docMk/>
          <pc:sldMk cId="3535680108" sldId="416"/>
        </pc:sldMkLst>
      </pc:sldChg>
      <pc:sldChg chg="del">
        <pc:chgData name="Сергій Крючатов" userId="8e7a03ca-f59a-46b1-9561-7469f01a934b" providerId="ADAL" clId="{9FDA4BA0-A2F5-4699-A86C-68FAFD75DF40}" dt="2019-02-22T10:58:59.880" v="2182" actId="2696"/>
        <pc:sldMkLst>
          <pc:docMk/>
          <pc:sldMk cId="938760640" sldId="418"/>
        </pc:sldMkLst>
      </pc:sldChg>
      <pc:sldChg chg="del">
        <pc:chgData name="Сергій Крючатов" userId="8e7a03ca-f59a-46b1-9561-7469f01a934b" providerId="ADAL" clId="{9FDA4BA0-A2F5-4699-A86C-68FAFD75DF40}" dt="2019-02-22T10:58:59.690" v="2173" actId="2696"/>
        <pc:sldMkLst>
          <pc:docMk/>
          <pc:sldMk cId="2046811397" sldId="420"/>
        </pc:sldMkLst>
      </pc:sldChg>
      <pc:sldChg chg="del">
        <pc:chgData name="Сергій Крючатов" userId="8e7a03ca-f59a-46b1-9561-7469f01a934b" providerId="ADAL" clId="{9FDA4BA0-A2F5-4699-A86C-68FAFD75DF40}" dt="2019-02-22T10:58:59.709" v="2174" actId="2696"/>
        <pc:sldMkLst>
          <pc:docMk/>
          <pc:sldMk cId="343524780" sldId="421"/>
        </pc:sldMkLst>
      </pc:sldChg>
      <pc:sldChg chg="addSp delSp modSp ord">
        <pc:chgData name="Сергій Крючатов" userId="8e7a03ca-f59a-46b1-9561-7469f01a934b" providerId="ADAL" clId="{9FDA4BA0-A2F5-4699-A86C-68FAFD75DF40}" dt="2019-02-22T11:37:38.721" v="3217"/>
        <pc:sldMkLst>
          <pc:docMk/>
          <pc:sldMk cId="2479516019" sldId="423"/>
        </pc:sldMkLst>
        <pc:spChg chg="del">
          <ac:chgData name="Сергій Крючатов" userId="8e7a03ca-f59a-46b1-9561-7469f01a934b" providerId="ADAL" clId="{9FDA4BA0-A2F5-4699-A86C-68FAFD75DF40}" dt="2019-02-22T09:39:08.437" v="1820" actId="931"/>
          <ac:spMkLst>
            <pc:docMk/>
            <pc:sldMk cId="2479516019" sldId="423"/>
            <ac:spMk id="3" creationId="{00000000-0000-0000-0000-000000000000}"/>
          </ac:spMkLst>
        </pc:spChg>
        <pc:spChg chg="mod">
          <ac:chgData name="Сергій Крючатов" userId="8e7a03ca-f59a-46b1-9561-7469f01a934b" providerId="ADAL" clId="{9FDA4BA0-A2F5-4699-A86C-68FAFD75DF40}" dt="2019-02-22T09:53:59.933" v="1925" actId="207"/>
          <ac:spMkLst>
            <pc:docMk/>
            <pc:sldMk cId="2479516019" sldId="423"/>
            <ac:spMk id="18" creationId="{00000000-0000-0000-0000-000000000000}"/>
          </ac:spMkLst>
        </pc:spChg>
        <pc:spChg chg="mod">
          <ac:chgData name="Сергій Крючатов" userId="8e7a03ca-f59a-46b1-9561-7469f01a934b" providerId="ADAL" clId="{9FDA4BA0-A2F5-4699-A86C-68FAFD75DF40}" dt="2019-02-22T09:54:02.383" v="1926" actId="207"/>
          <ac:spMkLst>
            <pc:docMk/>
            <pc:sldMk cId="2479516019" sldId="423"/>
            <ac:spMk id="19" creationId="{00000000-0000-0000-0000-000000000000}"/>
          </ac:spMkLst>
        </pc:spChg>
        <pc:spChg chg="mod">
          <ac:chgData name="Сергій Крючатов" userId="8e7a03ca-f59a-46b1-9561-7469f01a934b" providerId="ADAL" clId="{9FDA4BA0-A2F5-4699-A86C-68FAFD75DF40}" dt="2019-02-22T09:50:12.303" v="1848" actId="20577"/>
          <ac:spMkLst>
            <pc:docMk/>
            <pc:sldMk cId="2479516019" sldId="423"/>
            <ac:spMk id="20" creationId="{00000000-0000-0000-0000-000000000000}"/>
          </ac:spMkLst>
        </pc:spChg>
        <pc:spChg chg="mod">
          <ac:chgData name="Сергій Крючатов" userId="8e7a03ca-f59a-46b1-9561-7469f01a934b" providerId="ADAL" clId="{9FDA4BA0-A2F5-4699-A86C-68FAFD75DF40}" dt="2019-02-22T09:52:00.605" v="1892" actId="20577"/>
          <ac:spMkLst>
            <pc:docMk/>
            <pc:sldMk cId="2479516019" sldId="423"/>
            <ac:spMk id="30" creationId="{00000000-0000-0000-0000-000000000000}"/>
          </ac:spMkLst>
        </pc:spChg>
        <pc:picChg chg="add mod">
          <ac:chgData name="Сергій Крючатов" userId="8e7a03ca-f59a-46b1-9561-7469f01a934b" providerId="ADAL" clId="{9FDA4BA0-A2F5-4699-A86C-68FAFD75DF40}" dt="2019-02-22T09:39:08.437" v="1820" actId="931"/>
          <ac:picMkLst>
            <pc:docMk/>
            <pc:sldMk cId="2479516019" sldId="423"/>
            <ac:picMk id="6" creationId="{DE1163B6-E6F9-4D47-9D16-3742C2210402}"/>
          </ac:picMkLst>
        </pc:picChg>
        <pc:picChg chg="add">
          <ac:chgData name="Сергій Крючатов" userId="8e7a03ca-f59a-46b1-9561-7469f01a934b" providerId="ADAL" clId="{9FDA4BA0-A2F5-4699-A86C-68FAFD75DF40}" dt="2019-02-22T11:37:38.721" v="3217"/>
          <ac:picMkLst>
            <pc:docMk/>
            <pc:sldMk cId="2479516019" sldId="423"/>
            <ac:picMk id="12" creationId="{1C7D1FA8-1CCC-4687-9D64-6780E12C4993}"/>
          </ac:picMkLst>
        </pc:picChg>
      </pc:sldChg>
      <pc:sldChg chg="addSp delSp modSp ord">
        <pc:chgData name="Сергій Крючатов" userId="8e7a03ca-f59a-46b1-9561-7469f01a934b" providerId="ADAL" clId="{9FDA4BA0-A2F5-4699-A86C-68FAFD75DF40}" dt="2019-02-22T11:37:40.461" v="3218"/>
        <pc:sldMkLst>
          <pc:docMk/>
          <pc:sldMk cId="3178541083" sldId="424"/>
        </pc:sldMkLst>
        <pc:spChg chg="del">
          <ac:chgData name="Сергій Крючатов" userId="8e7a03ca-f59a-46b1-9561-7469f01a934b" providerId="ADAL" clId="{9FDA4BA0-A2F5-4699-A86C-68FAFD75DF40}" dt="2019-02-22T10:41:18.050" v="2067" actId="931"/>
          <ac:spMkLst>
            <pc:docMk/>
            <pc:sldMk cId="3178541083" sldId="424"/>
            <ac:spMk id="8" creationId="{00000000-0000-0000-0000-000000000000}"/>
          </ac:spMkLst>
        </pc:spChg>
        <pc:spChg chg="del">
          <ac:chgData name="Сергій Крючатов" userId="8e7a03ca-f59a-46b1-9561-7469f01a934b" providerId="ADAL" clId="{9FDA4BA0-A2F5-4699-A86C-68FAFD75DF40}" dt="2019-02-22T10:42:50.757" v="2069" actId="931"/>
          <ac:spMkLst>
            <pc:docMk/>
            <pc:sldMk cId="3178541083" sldId="424"/>
            <ac:spMk id="9" creationId="{00000000-0000-0000-0000-000000000000}"/>
          </ac:spMkLst>
        </pc:spChg>
        <pc:spChg chg="del">
          <ac:chgData name="Сергій Крючатов" userId="8e7a03ca-f59a-46b1-9561-7469f01a934b" providerId="ADAL" clId="{9FDA4BA0-A2F5-4699-A86C-68FAFD75DF40}" dt="2019-02-22T10:41:36.517" v="2068" actId="931"/>
          <ac:spMkLst>
            <pc:docMk/>
            <pc:sldMk cId="3178541083" sldId="424"/>
            <ac:spMk id="10" creationId="{00000000-0000-0000-0000-000000000000}"/>
          </ac:spMkLst>
        </pc:spChg>
        <pc:spChg chg="del">
          <ac:chgData name="Сергій Крючатов" userId="8e7a03ca-f59a-46b1-9561-7469f01a934b" providerId="ADAL" clId="{9FDA4BA0-A2F5-4699-A86C-68FAFD75DF40}" dt="2019-02-22T10:48:30.999" v="2070" actId="931"/>
          <ac:spMkLst>
            <pc:docMk/>
            <pc:sldMk cId="3178541083" sldId="424"/>
            <ac:spMk id="11" creationId="{00000000-0000-0000-0000-000000000000}"/>
          </ac:spMkLst>
        </pc:spChg>
        <pc:spChg chg="mod">
          <ac:chgData name="Сергій Крючатов" userId="8e7a03ca-f59a-46b1-9561-7469f01a934b" providerId="ADAL" clId="{9FDA4BA0-A2F5-4699-A86C-68FAFD75DF40}" dt="2019-02-22T09:57:53.405" v="1964" actId="207"/>
          <ac:spMkLst>
            <pc:docMk/>
            <pc:sldMk cId="3178541083" sldId="424"/>
            <ac:spMk id="18" creationId="{00000000-0000-0000-0000-000000000000}"/>
          </ac:spMkLst>
        </pc:spChg>
        <pc:spChg chg="mod">
          <ac:chgData name="Сергій Крючатов" userId="8e7a03ca-f59a-46b1-9561-7469f01a934b" providerId="ADAL" clId="{9FDA4BA0-A2F5-4699-A86C-68FAFD75DF40}" dt="2019-02-22T09:58:17.803" v="1966" actId="207"/>
          <ac:spMkLst>
            <pc:docMk/>
            <pc:sldMk cId="3178541083" sldId="424"/>
            <ac:spMk id="19" creationId="{00000000-0000-0000-0000-000000000000}"/>
          </ac:spMkLst>
        </pc:spChg>
        <pc:spChg chg="mod">
          <ac:chgData name="Сергій Крючатов" userId="8e7a03ca-f59a-46b1-9561-7469f01a934b" providerId="ADAL" clId="{9FDA4BA0-A2F5-4699-A86C-68FAFD75DF40}" dt="2019-02-22T09:59:50.504" v="1968" actId="207"/>
          <ac:spMkLst>
            <pc:docMk/>
            <pc:sldMk cId="3178541083" sldId="424"/>
            <ac:spMk id="34" creationId="{00000000-0000-0000-0000-000000000000}"/>
          </ac:spMkLst>
        </pc:spChg>
        <pc:spChg chg="mod">
          <ac:chgData name="Сергій Крючатов" userId="8e7a03ca-f59a-46b1-9561-7469f01a934b" providerId="ADAL" clId="{9FDA4BA0-A2F5-4699-A86C-68FAFD75DF40}" dt="2019-02-22T10:02:16.503" v="1984" actId="1076"/>
          <ac:spMkLst>
            <pc:docMk/>
            <pc:sldMk cId="3178541083" sldId="424"/>
            <ac:spMk id="35" creationId="{00000000-0000-0000-0000-000000000000}"/>
          </ac:spMkLst>
        </pc:spChg>
        <pc:picChg chg="add mod">
          <ac:chgData name="Сергій Крючатов" userId="8e7a03ca-f59a-46b1-9561-7469f01a934b" providerId="ADAL" clId="{9FDA4BA0-A2F5-4699-A86C-68FAFD75DF40}" dt="2019-02-22T10:41:18.050" v="2067" actId="931"/>
          <ac:picMkLst>
            <pc:docMk/>
            <pc:sldMk cId="3178541083" sldId="424"/>
            <ac:picMk id="4" creationId="{0F2F2A8B-F2AE-4270-BE37-A18D4A50C880}"/>
          </ac:picMkLst>
        </pc:picChg>
        <pc:picChg chg="add mod">
          <ac:chgData name="Сергій Крючатов" userId="8e7a03ca-f59a-46b1-9561-7469f01a934b" providerId="ADAL" clId="{9FDA4BA0-A2F5-4699-A86C-68FAFD75DF40}" dt="2019-02-22T10:41:36.517" v="2068" actId="931"/>
          <ac:picMkLst>
            <pc:docMk/>
            <pc:sldMk cId="3178541083" sldId="424"/>
            <ac:picMk id="6" creationId="{731D9ABE-EDDC-446F-AA21-5A7E0782CBAB}"/>
          </ac:picMkLst>
        </pc:picChg>
        <pc:picChg chg="add mod">
          <ac:chgData name="Сергій Крючатов" userId="8e7a03ca-f59a-46b1-9561-7469f01a934b" providerId="ADAL" clId="{9FDA4BA0-A2F5-4699-A86C-68FAFD75DF40}" dt="2019-02-22T10:42:50.757" v="2069" actId="931"/>
          <ac:picMkLst>
            <pc:docMk/>
            <pc:sldMk cId="3178541083" sldId="424"/>
            <ac:picMk id="12" creationId="{436743B7-5C74-4205-998B-C86DFB0C7E39}"/>
          </ac:picMkLst>
        </pc:picChg>
        <pc:picChg chg="add mod">
          <ac:chgData name="Сергій Крючатов" userId="8e7a03ca-f59a-46b1-9561-7469f01a934b" providerId="ADAL" clId="{9FDA4BA0-A2F5-4699-A86C-68FAFD75DF40}" dt="2019-02-22T10:48:30.999" v="2070" actId="931"/>
          <ac:picMkLst>
            <pc:docMk/>
            <pc:sldMk cId="3178541083" sldId="424"/>
            <ac:picMk id="15" creationId="{88F6A47C-E314-432F-A26B-EB3CCE889F3F}"/>
          </ac:picMkLst>
        </pc:picChg>
        <pc:picChg chg="add">
          <ac:chgData name="Сергій Крючатов" userId="8e7a03ca-f59a-46b1-9561-7469f01a934b" providerId="ADAL" clId="{9FDA4BA0-A2F5-4699-A86C-68FAFD75DF40}" dt="2019-02-22T11:37:40.461" v="3218"/>
          <ac:picMkLst>
            <pc:docMk/>
            <pc:sldMk cId="3178541083" sldId="424"/>
            <ac:picMk id="24" creationId="{C7C8CBA6-7581-48E2-B7FF-30D74FB67BC9}"/>
          </ac:picMkLst>
        </pc:picChg>
      </pc:sldChg>
      <pc:sldChg chg="addSp delSp modSp ord">
        <pc:chgData name="Сергій Крючатов" userId="8e7a03ca-f59a-46b1-9561-7469f01a934b" providerId="ADAL" clId="{9FDA4BA0-A2F5-4699-A86C-68FAFD75DF40}" dt="2019-02-22T11:37:35.731" v="3215"/>
        <pc:sldMkLst>
          <pc:docMk/>
          <pc:sldMk cId="3832185625" sldId="425"/>
        </pc:sldMkLst>
        <pc:spChg chg="del">
          <ac:chgData name="Сергій Крючатов" userId="8e7a03ca-f59a-46b1-9561-7469f01a934b" providerId="ADAL" clId="{9FDA4BA0-A2F5-4699-A86C-68FAFD75DF40}" dt="2019-02-22T07:47:51.982" v="614" actId="931"/>
          <ac:spMkLst>
            <pc:docMk/>
            <pc:sldMk cId="3832185625" sldId="425"/>
            <ac:spMk id="6" creationId="{00000000-0000-0000-0000-000000000000}"/>
          </ac:spMkLst>
        </pc:spChg>
        <pc:spChg chg="del">
          <ac:chgData name="Сергій Крючатов" userId="8e7a03ca-f59a-46b1-9561-7469f01a934b" providerId="ADAL" clId="{9FDA4BA0-A2F5-4699-A86C-68FAFD75DF40}" dt="2019-02-22T07:56:03.508" v="615" actId="931"/>
          <ac:spMkLst>
            <pc:docMk/>
            <pc:sldMk cId="3832185625" sldId="425"/>
            <ac:spMk id="7" creationId="{00000000-0000-0000-0000-000000000000}"/>
          </ac:spMkLst>
        </pc:spChg>
        <pc:spChg chg="mod">
          <ac:chgData name="Сергій Крючатов" userId="8e7a03ca-f59a-46b1-9561-7469f01a934b" providerId="ADAL" clId="{9FDA4BA0-A2F5-4699-A86C-68FAFD75DF40}" dt="2019-02-22T09:16:54.583" v="1818"/>
          <ac:spMkLst>
            <pc:docMk/>
            <pc:sldMk cId="3832185625" sldId="425"/>
            <ac:spMk id="18" creationId="{00000000-0000-0000-0000-000000000000}"/>
          </ac:spMkLst>
        </pc:spChg>
        <pc:spChg chg="mod">
          <ac:chgData name="Сергій Крючатов" userId="8e7a03ca-f59a-46b1-9561-7469f01a934b" providerId="ADAL" clId="{9FDA4BA0-A2F5-4699-A86C-68FAFD75DF40}" dt="2019-02-22T09:03:11.451" v="1092" actId="20577"/>
          <ac:spMkLst>
            <pc:docMk/>
            <pc:sldMk cId="3832185625" sldId="425"/>
            <ac:spMk id="19" creationId="{00000000-0000-0000-0000-000000000000}"/>
          </ac:spMkLst>
        </pc:spChg>
        <pc:spChg chg="mod">
          <ac:chgData name="Сергій Крючатов" userId="8e7a03ca-f59a-46b1-9561-7469f01a934b" providerId="ADAL" clId="{9FDA4BA0-A2F5-4699-A86C-68FAFD75DF40}" dt="2019-02-22T07:57:35.418" v="655" actId="14100"/>
          <ac:spMkLst>
            <pc:docMk/>
            <pc:sldMk cId="3832185625" sldId="425"/>
            <ac:spMk id="21" creationId="{00000000-0000-0000-0000-000000000000}"/>
          </ac:spMkLst>
        </pc:spChg>
        <pc:spChg chg="mod">
          <ac:chgData name="Сергій Крючатов" userId="8e7a03ca-f59a-46b1-9561-7469f01a934b" providerId="ADAL" clId="{9FDA4BA0-A2F5-4699-A86C-68FAFD75DF40}" dt="2019-02-22T09:07:23.961" v="1401" actId="12"/>
          <ac:spMkLst>
            <pc:docMk/>
            <pc:sldMk cId="3832185625" sldId="425"/>
            <ac:spMk id="22" creationId="{00000000-0000-0000-0000-000000000000}"/>
          </ac:spMkLst>
        </pc:spChg>
        <pc:spChg chg="mod">
          <ac:chgData name="Сергій Крючатов" userId="8e7a03ca-f59a-46b1-9561-7469f01a934b" providerId="ADAL" clId="{9FDA4BA0-A2F5-4699-A86C-68FAFD75DF40}" dt="2019-02-22T07:57:35.418" v="655" actId="14100"/>
          <ac:spMkLst>
            <pc:docMk/>
            <pc:sldMk cId="3832185625" sldId="425"/>
            <ac:spMk id="23" creationId="{00000000-0000-0000-0000-000000000000}"/>
          </ac:spMkLst>
        </pc:spChg>
        <pc:spChg chg="mod">
          <ac:chgData name="Сергій Крючатов" userId="8e7a03ca-f59a-46b1-9561-7469f01a934b" providerId="ADAL" clId="{9FDA4BA0-A2F5-4699-A86C-68FAFD75DF40}" dt="2019-02-22T09:08:17.070" v="1404" actId="12"/>
          <ac:spMkLst>
            <pc:docMk/>
            <pc:sldMk cId="3832185625" sldId="425"/>
            <ac:spMk id="24" creationId="{00000000-0000-0000-0000-000000000000}"/>
          </ac:spMkLst>
        </pc:spChg>
        <pc:picChg chg="add mod">
          <ac:chgData name="Сергій Крючатов" userId="8e7a03ca-f59a-46b1-9561-7469f01a934b" providerId="ADAL" clId="{9FDA4BA0-A2F5-4699-A86C-68FAFD75DF40}" dt="2019-02-22T07:47:51.982" v="614" actId="931"/>
          <ac:picMkLst>
            <pc:docMk/>
            <pc:sldMk cId="3832185625" sldId="425"/>
            <ac:picMk id="4" creationId="{86556EA7-0589-4CA9-B923-B9E698FD0D01}"/>
          </ac:picMkLst>
        </pc:picChg>
        <pc:picChg chg="add mod">
          <ac:chgData name="Сергій Крючатов" userId="8e7a03ca-f59a-46b1-9561-7469f01a934b" providerId="ADAL" clId="{9FDA4BA0-A2F5-4699-A86C-68FAFD75DF40}" dt="2019-02-22T07:56:03.508" v="615" actId="931"/>
          <ac:picMkLst>
            <pc:docMk/>
            <pc:sldMk cId="3832185625" sldId="425"/>
            <ac:picMk id="8" creationId="{237D96A6-7E22-4D00-A5EC-CEA817DA0D58}"/>
          </ac:picMkLst>
        </pc:picChg>
        <pc:picChg chg="add">
          <ac:chgData name="Сергій Крючатов" userId="8e7a03ca-f59a-46b1-9561-7469f01a934b" providerId="ADAL" clId="{9FDA4BA0-A2F5-4699-A86C-68FAFD75DF40}" dt="2019-02-22T11:37:35.731" v="3215"/>
          <ac:picMkLst>
            <pc:docMk/>
            <pc:sldMk cId="3832185625" sldId="425"/>
            <ac:picMk id="17" creationId="{632F85A2-41F4-4936-98C7-87F2B414BB41}"/>
          </ac:picMkLst>
        </pc:picChg>
      </pc:sldChg>
      <pc:sldChg chg="addSp delSp modSp ord">
        <pc:chgData name="Сергій Крючатов" userId="8e7a03ca-f59a-46b1-9561-7469f01a934b" providerId="ADAL" clId="{9FDA4BA0-A2F5-4699-A86C-68FAFD75DF40}" dt="2019-02-22T11:37:37.415" v="3216"/>
        <pc:sldMkLst>
          <pc:docMk/>
          <pc:sldMk cId="3139228762" sldId="426"/>
        </pc:sldMkLst>
        <pc:spChg chg="del">
          <ac:chgData name="Сергій Крючатов" userId="8e7a03ca-f59a-46b1-9561-7469f01a934b" providerId="ADAL" clId="{9FDA4BA0-A2F5-4699-A86C-68FAFD75DF40}" dt="2019-02-22T09:09:37.520" v="1406" actId="931"/>
          <ac:spMkLst>
            <pc:docMk/>
            <pc:sldMk cId="3139228762" sldId="426"/>
            <ac:spMk id="4" creationId="{00000000-0000-0000-0000-000000000000}"/>
          </ac:spMkLst>
        </pc:spChg>
        <pc:spChg chg="del">
          <ac:chgData name="Сергій Крючатов" userId="8e7a03ca-f59a-46b1-9561-7469f01a934b" providerId="ADAL" clId="{9FDA4BA0-A2F5-4699-A86C-68FAFD75DF40}" dt="2019-02-22T09:09:41.700" v="1407" actId="931"/>
          <ac:spMkLst>
            <pc:docMk/>
            <pc:sldMk cId="3139228762" sldId="426"/>
            <ac:spMk id="5" creationId="{00000000-0000-0000-0000-000000000000}"/>
          </ac:spMkLst>
        </pc:spChg>
        <pc:spChg chg="del">
          <ac:chgData name="Сергій Крючатов" userId="8e7a03ca-f59a-46b1-9561-7469f01a934b" providerId="ADAL" clId="{9FDA4BA0-A2F5-4699-A86C-68FAFD75DF40}" dt="2019-02-22T09:09:47.274" v="1408" actId="931"/>
          <ac:spMkLst>
            <pc:docMk/>
            <pc:sldMk cId="3139228762" sldId="426"/>
            <ac:spMk id="6" creationId="{00000000-0000-0000-0000-000000000000}"/>
          </ac:spMkLst>
        </pc:spChg>
        <pc:spChg chg="mod">
          <ac:chgData name="Сергій Крючатов" userId="8e7a03ca-f59a-46b1-9561-7469f01a934b" providerId="ADAL" clId="{9FDA4BA0-A2F5-4699-A86C-68FAFD75DF40}" dt="2019-02-22T09:10:52.582" v="1498" actId="207"/>
          <ac:spMkLst>
            <pc:docMk/>
            <pc:sldMk cId="3139228762" sldId="426"/>
            <ac:spMk id="18" creationId="{00000000-0000-0000-0000-000000000000}"/>
          </ac:spMkLst>
        </pc:spChg>
        <pc:spChg chg="mod">
          <ac:chgData name="Сергій Крючатов" userId="8e7a03ca-f59a-46b1-9561-7469f01a934b" providerId="ADAL" clId="{9FDA4BA0-A2F5-4699-A86C-68FAFD75DF40}" dt="2019-02-22T09:10:57.015" v="1499" actId="207"/>
          <ac:spMkLst>
            <pc:docMk/>
            <pc:sldMk cId="3139228762" sldId="426"/>
            <ac:spMk id="19" creationId="{00000000-0000-0000-0000-000000000000}"/>
          </ac:spMkLst>
        </pc:spChg>
        <pc:spChg chg="mod">
          <ac:chgData name="Сергій Крючатов" userId="8e7a03ca-f59a-46b1-9561-7469f01a934b" providerId="ADAL" clId="{9FDA4BA0-A2F5-4699-A86C-68FAFD75DF40}" dt="2019-02-22T09:14:43.331" v="1797" actId="207"/>
          <ac:spMkLst>
            <pc:docMk/>
            <pc:sldMk cId="3139228762" sldId="426"/>
            <ac:spMk id="25" creationId="{00000000-0000-0000-0000-000000000000}"/>
          </ac:spMkLst>
        </pc:spChg>
        <pc:spChg chg="mod">
          <ac:chgData name="Сергій Крючатов" userId="8e7a03ca-f59a-46b1-9561-7469f01a934b" providerId="ADAL" clId="{9FDA4BA0-A2F5-4699-A86C-68FAFD75DF40}" dt="2019-02-22T09:14:56.425" v="1800" actId="12"/>
          <ac:spMkLst>
            <pc:docMk/>
            <pc:sldMk cId="3139228762" sldId="426"/>
            <ac:spMk id="27" creationId="{00000000-0000-0000-0000-000000000000}"/>
          </ac:spMkLst>
        </pc:spChg>
        <pc:spChg chg="mod">
          <ac:chgData name="Сергій Крючатов" userId="8e7a03ca-f59a-46b1-9561-7469f01a934b" providerId="ADAL" clId="{9FDA4BA0-A2F5-4699-A86C-68FAFD75DF40}" dt="2019-02-22T09:14:43.331" v="1797" actId="207"/>
          <ac:spMkLst>
            <pc:docMk/>
            <pc:sldMk cId="3139228762" sldId="426"/>
            <ac:spMk id="28" creationId="{00000000-0000-0000-0000-000000000000}"/>
          </ac:spMkLst>
        </pc:spChg>
        <pc:spChg chg="mod">
          <ac:chgData name="Сергій Крючатов" userId="8e7a03ca-f59a-46b1-9561-7469f01a934b" providerId="ADAL" clId="{9FDA4BA0-A2F5-4699-A86C-68FAFD75DF40}" dt="2019-02-22T09:15:00.580" v="1801" actId="12"/>
          <ac:spMkLst>
            <pc:docMk/>
            <pc:sldMk cId="3139228762" sldId="426"/>
            <ac:spMk id="30" creationId="{00000000-0000-0000-0000-000000000000}"/>
          </ac:spMkLst>
        </pc:spChg>
        <pc:spChg chg="mod">
          <ac:chgData name="Сергій Крючатов" userId="8e7a03ca-f59a-46b1-9561-7469f01a934b" providerId="ADAL" clId="{9FDA4BA0-A2F5-4699-A86C-68FAFD75DF40}" dt="2019-02-22T09:14:43.331" v="1797" actId="207"/>
          <ac:spMkLst>
            <pc:docMk/>
            <pc:sldMk cId="3139228762" sldId="426"/>
            <ac:spMk id="31" creationId="{00000000-0000-0000-0000-000000000000}"/>
          </ac:spMkLst>
        </pc:spChg>
        <pc:spChg chg="mod">
          <ac:chgData name="Сергій Крючатов" userId="8e7a03ca-f59a-46b1-9561-7469f01a934b" providerId="ADAL" clId="{9FDA4BA0-A2F5-4699-A86C-68FAFD75DF40}" dt="2019-02-22T09:15:03.835" v="1802" actId="12"/>
          <ac:spMkLst>
            <pc:docMk/>
            <pc:sldMk cId="3139228762" sldId="426"/>
            <ac:spMk id="32" creationId="{00000000-0000-0000-0000-000000000000}"/>
          </ac:spMkLst>
        </pc:spChg>
        <pc:picChg chg="add mod">
          <ac:chgData name="Сергій Крючатов" userId="8e7a03ca-f59a-46b1-9561-7469f01a934b" providerId="ADAL" clId="{9FDA4BA0-A2F5-4699-A86C-68FAFD75DF40}" dt="2019-02-22T09:09:37.520" v="1406" actId="931"/>
          <ac:picMkLst>
            <pc:docMk/>
            <pc:sldMk cId="3139228762" sldId="426"/>
            <ac:picMk id="7" creationId="{18A7508B-FEBC-4E01-B95B-821D8B2B6570}"/>
          </ac:picMkLst>
        </pc:picChg>
        <pc:picChg chg="add mod">
          <ac:chgData name="Сергій Крючатов" userId="8e7a03ca-f59a-46b1-9561-7469f01a934b" providerId="ADAL" clId="{9FDA4BA0-A2F5-4699-A86C-68FAFD75DF40}" dt="2019-02-22T09:09:41.700" v="1407" actId="931"/>
          <ac:picMkLst>
            <pc:docMk/>
            <pc:sldMk cId="3139228762" sldId="426"/>
            <ac:picMk id="9" creationId="{DC5B273A-CAE8-42E1-B3BD-A7F2CFFAA6AF}"/>
          </ac:picMkLst>
        </pc:picChg>
        <pc:picChg chg="add mod">
          <ac:chgData name="Сергій Крючатов" userId="8e7a03ca-f59a-46b1-9561-7469f01a934b" providerId="ADAL" clId="{9FDA4BA0-A2F5-4699-A86C-68FAFD75DF40}" dt="2019-02-22T09:09:47.274" v="1408" actId="931"/>
          <ac:picMkLst>
            <pc:docMk/>
            <pc:sldMk cId="3139228762" sldId="426"/>
            <ac:picMk id="11" creationId="{E168EF7C-B1AD-4926-B1C5-E8D337E8B4BC}"/>
          </ac:picMkLst>
        </pc:picChg>
        <pc:picChg chg="add">
          <ac:chgData name="Сергій Крючатов" userId="8e7a03ca-f59a-46b1-9561-7469f01a934b" providerId="ADAL" clId="{9FDA4BA0-A2F5-4699-A86C-68FAFD75DF40}" dt="2019-02-22T11:37:37.415" v="3216"/>
          <ac:picMkLst>
            <pc:docMk/>
            <pc:sldMk cId="3139228762" sldId="426"/>
            <ac:picMk id="23" creationId="{8105FBB2-CC66-4CFB-97D1-B75ADE8B522A}"/>
          </ac:picMkLst>
        </pc:picChg>
      </pc:sldChg>
      <pc:sldChg chg="del">
        <pc:chgData name="Сергій Крючатов" userId="8e7a03ca-f59a-46b1-9561-7469f01a934b" providerId="ADAL" clId="{9FDA4BA0-A2F5-4699-A86C-68FAFD75DF40}" dt="2019-02-22T10:58:59.730" v="2175" actId="2696"/>
        <pc:sldMkLst>
          <pc:docMk/>
          <pc:sldMk cId="1997359343" sldId="427"/>
        </pc:sldMkLst>
      </pc:sldChg>
      <pc:sldChg chg="del">
        <pc:chgData name="Сергій Крючатов" userId="8e7a03ca-f59a-46b1-9561-7469f01a934b" providerId="ADAL" clId="{9FDA4BA0-A2F5-4699-A86C-68FAFD75DF40}" dt="2019-02-22T10:58:59.754" v="2176" actId="2696"/>
        <pc:sldMkLst>
          <pc:docMk/>
          <pc:sldMk cId="3494217923" sldId="428"/>
        </pc:sldMkLst>
      </pc:sldChg>
      <pc:sldChg chg="del">
        <pc:chgData name="Сергій Крючатов" userId="8e7a03ca-f59a-46b1-9561-7469f01a934b" providerId="ADAL" clId="{9FDA4BA0-A2F5-4699-A86C-68FAFD75DF40}" dt="2019-02-22T07:05:28.889" v="2" actId="2696"/>
        <pc:sldMkLst>
          <pc:docMk/>
          <pc:sldMk cId="2938945841" sldId="431"/>
        </pc:sldMkLst>
      </pc:sldChg>
      <pc:sldChg chg="del">
        <pc:chgData name="Сергій Крючатов" userId="8e7a03ca-f59a-46b1-9561-7469f01a934b" providerId="ADAL" clId="{9FDA4BA0-A2F5-4699-A86C-68FAFD75DF40}" dt="2019-02-22T07:05:30.280" v="4" actId="2696"/>
        <pc:sldMkLst>
          <pc:docMk/>
          <pc:sldMk cId="2198822750" sldId="432"/>
        </pc:sldMkLst>
      </pc:sldChg>
      <pc:sldChg chg="del">
        <pc:chgData name="Сергій Крючатов" userId="8e7a03ca-f59a-46b1-9561-7469f01a934b" providerId="ADAL" clId="{9FDA4BA0-A2F5-4699-A86C-68FAFD75DF40}" dt="2019-02-22T07:06:07.399" v="9" actId="2696"/>
        <pc:sldMkLst>
          <pc:docMk/>
          <pc:sldMk cId="3262080785" sldId="433"/>
        </pc:sldMkLst>
      </pc:sldChg>
      <pc:sldChg chg="del">
        <pc:chgData name="Сергій Крючатов" userId="8e7a03ca-f59a-46b1-9561-7469f01a934b" providerId="ADAL" clId="{9FDA4BA0-A2F5-4699-A86C-68FAFD75DF40}" dt="2019-02-22T07:06:16.829" v="11" actId="2696"/>
        <pc:sldMkLst>
          <pc:docMk/>
          <pc:sldMk cId="2924953134" sldId="434"/>
        </pc:sldMkLst>
      </pc:sldChg>
      <pc:sldChg chg="del">
        <pc:chgData name="Сергій Крючатов" userId="8e7a03ca-f59a-46b1-9561-7469f01a934b" providerId="ADAL" clId="{9FDA4BA0-A2F5-4699-A86C-68FAFD75DF40}" dt="2019-02-22T07:06:20.031" v="12" actId="2696"/>
        <pc:sldMkLst>
          <pc:docMk/>
          <pc:sldMk cId="1702589871" sldId="435"/>
        </pc:sldMkLst>
      </pc:sldChg>
      <pc:sldChg chg="del">
        <pc:chgData name="Сергій Крючатов" userId="8e7a03ca-f59a-46b1-9561-7469f01a934b" providerId="ADAL" clId="{9FDA4BA0-A2F5-4699-A86C-68FAFD75DF40}" dt="2019-02-22T10:58:56.970" v="2113" actId="2696"/>
        <pc:sldMkLst>
          <pc:docMk/>
          <pc:sldMk cId="4162734374" sldId="436"/>
        </pc:sldMkLst>
      </pc:sldChg>
      <pc:sldChg chg="del">
        <pc:chgData name="Сергій Крючатов" userId="8e7a03ca-f59a-46b1-9561-7469f01a934b" providerId="ADAL" clId="{9FDA4BA0-A2F5-4699-A86C-68FAFD75DF40}" dt="2019-02-22T07:06:21.810" v="13" actId="2696"/>
        <pc:sldMkLst>
          <pc:docMk/>
          <pc:sldMk cId="2279577242" sldId="437"/>
        </pc:sldMkLst>
      </pc:sldChg>
      <pc:sldChg chg="del">
        <pc:chgData name="Сергій Крючатов" userId="8e7a03ca-f59a-46b1-9561-7469f01a934b" providerId="ADAL" clId="{9FDA4BA0-A2F5-4699-A86C-68FAFD75DF40}" dt="2019-02-22T07:06:24.949" v="15" actId="2696"/>
        <pc:sldMkLst>
          <pc:docMk/>
          <pc:sldMk cId="1267394537" sldId="438"/>
        </pc:sldMkLst>
      </pc:sldChg>
      <pc:sldChg chg="del">
        <pc:chgData name="Сергій Крючатов" userId="8e7a03ca-f59a-46b1-9561-7469f01a934b" providerId="ADAL" clId="{9FDA4BA0-A2F5-4699-A86C-68FAFD75DF40}" dt="2019-02-22T07:06:26.263" v="16" actId="2696"/>
        <pc:sldMkLst>
          <pc:docMk/>
          <pc:sldMk cId="3363384544" sldId="440"/>
        </pc:sldMkLst>
      </pc:sldChg>
      <pc:sldChg chg="del">
        <pc:chgData name="Сергій Крючатов" userId="8e7a03ca-f59a-46b1-9561-7469f01a934b" providerId="ADAL" clId="{9FDA4BA0-A2F5-4699-A86C-68FAFD75DF40}" dt="2019-02-22T10:58:57.300" v="2123" actId="2696"/>
        <pc:sldMkLst>
          <pc:docMk/>
          <pc:sldMk cId="2994630232" sldId="441"/>
        </pc:sldMkLst>
      </pc:sldChg>
      <pc:sldChg chg="del">
        <pc:chgData name="Сергій Крючатов" userId="8e7a03ca-f59a-46b1-9561-7469f01a934b" providerId="ADAL" clId="{9FDA4BA0-A2F5-4699-A86C-68FAFD75DF40}" dt="2019-02-22T07:06:31.748" v="18" actId="2696"/>
        <pc:sldMkLst>
          <pc:docMk/>
          <pc:sldMk cId="4197301262" sldId="442"/>
        </pc:sldMkLst>
      </pc:sldChg>
      <pc:sldChg chg="del">
        <pc:chgData name="Сергій Крючатов" userId="8e7a03ca-f59a-46b1-9561-7469f01a934b" providerId="ADAL" clId="{9FDA4BA0-A2F5-4699-A86C-68FAFD75DF40}" dt="2019-02-22T07:06:52.491" v="21" actId="2696"/>
        <pc:sldMkLst>
          <pc:docMk/>
          <pc:sldMk cId="1460516041" sldId="443"/>
        </pc:sldMkLst>
      </pc:sldChg>
      <pc:sldChg chg="del">
        <pc:chgData name="Сергій Крючатов" userId="8e7a03ca-f59a-46b1-9561-7469f01a934b" providerId="ADAL" clId="{9FDA4BA0-A2F5-4699-A86C-68FAFD75DF40}" dt="2019-02-22T10:58:59.309" v="2161" actId="2696"/>
        <pc:sldMkLst>
          <pc:docMk/>
          <pc:sldMk cId="3345953453" sldId="444"/>
        </pc:sldMkLst>
      </pc:sldChg>
      <pc:sldChg chg="del">
        <pc:chgData name="Сергій Крючатов" userId="8e7a03ca-f59a-46b1-9561-7469f01a934b" providerId="ADAL" clId="{9FDA4BA0-A2F5-4699-A86C-68FAFD75DF40}" dt="2019-02-22T10:58:59.540" v="2167" actId="2696"/>
        <pc:sldMkLst>
          <pc:docMk/>
          <pc:sldMk cId="1313360524" sldId="445"/>
        </pc:sldMkLst>
      </pc:sldChg>
      <pc:sldChg chg="del">
        <pc:chgData name="Сергій Крючатов" userId="8e7a03ca-f59a-46b1-9561-7469f01a934b" providerId="ADAL" clId="{9FDA4BA0-A2F5-4699-A86C-68FAFD75DF40}" dt="2019-02-22T10:58:59.590" v="2169" actId="2696"/>
        <pc:sldMkLst>
          <pc:docMk/>
          <pc:sldMk cId="2855296280" sldId="446"/>
        </pc:sldMkLst>
      </pc:sldChg>
      <pc:sldChg chg="del">
        <pc:chgData name="Сергій Крючатов" userId="8e7a03ca-f59a-46b1-9561-7469f01a934b" providerId="ADAL" clId="{9FDA4BA0-A2F5-4699-A86C-68FAFD75DF40}" dt="2019-02-22T07:22:25.784" v="80" actId="2696"/>
        <pc:sldMkLst>
          <pc:docMk/>
          <pc:sldMk cId="2880805324" sldId="448"/>
        </pc:sldMkLst>
      </pc:sldChg>
      <pc:sldChg chg="del">
        <pc:chgData name="Сергій Крючатов" userId="8e7a03ca-f59a-46b1-9561-7469f01a934b" providerId="ADAL" clId="{9FDA4BA0-A2F5-4699-A86C-68FAFD75DF40}" dt="2019-02-22T07:22:22.156" v="75" actId="2696"/>
        <pc:sldMkLst>
          <pc:docMk/>
          <pc:sldMk cId="2885985972" sldId="449"/>
        </pc:sldMkLst>
      </pc:sldChg>
      <pc:sldChg chg="del">
        <pc:chgData name="Сергій Крючатов" userId="8e7a03ca-f59a-46b1-9561-7469f01a934b" providerId="ADAL" clId="{9FDA4BA0-A2F5-4699-A86C-68FAFD75DF40}" dt="2019-02-22T07:22:16.979" v="68" actId="2696"/>
        <pc:sldMkLst>
          <pc:docMk/>
          <pc:sldMk cId="444756833" sldId="450"/>
        </pc:sldMkLst>
      </pc:sldChg>
      <pc:sldChg chg="del">
        <pc:chgData name="Сергій Крючатов" userId="8e7a03ca-f59a-46b1-9561-7469f01a934b" providerId="ADAL" clId="{9FDA4BA0-A2F5-4699-A86C-68FAFD75DF40}" dt="2019-02-22T07:22:17.454" v="74" actId="2696"/>
        <pc:sldMkLst>
          <pc:docMk/>
          <pc:sldMk cId="3836232442" sldId="451"/>
        </pc:sldMkLst>
      </pc:sldChg>
      <pc:sldChg chg="del">
        <pc:chgData name="Сергій Крючатов" userId="8e7a03ca-f59a-46b1-9561-7469f01a934b" providerId="ADAL" clId="{9FDA4BA0-A2F5-4699-A86C-68FAFD75DF40}" dt="2019-02-22T10:58:59.644" v="2171" actId="2696"/>
        <pc:sldMkLst>
          <pc:docMk/>
          <pc:sldMk cId="1508932747" sldId="452"/>
        </pc:sldMkLst>
      </pc:sldChg>
      <pc:sldChg chg="del">
        <pc:chgData name="Сергій Крючатов" userId="8e7a03ca-f59a-46b1-9561-7469f01a934b" providerId="ADAL" clId="{9FDA4BA0-A2F5-4699-A86C-68FAFD75DF40}" dt="2019-02-22T10:58:58.980" v="2151" actId="2696"/>
        <pc:sldMkLst>
          <pc:docMk/>
          <pc:sldMk cId="2170690292" sldId="453"/>
        </pc:sldMkLst>
      </pc:sldChg>
      <pc:sldChg chg="del">
        <pc:chgData name="Сергій Крючатов" userId="8e7a03ca-f59a-46b1-9561-7469f01a934b" providerId="ADAL" clId="{9FDA4BA0-A2F5-4699-A86C-68FAFD75DF40}" dt="2019-02-22T10:58:58.530" v="2138" actId="2696"/>
        <pc:sldMkLst>
          <pc:docMk/>
          <pc:sldMk cId="1352056448" sldId="454"/>
        </pc:sldMkLst>
      </pc:sldChg>
      <pc:sldChg chg="del">
        <pc:chgData name="Сергій Крючатов" userId="8e7a03ca-f59a-46b1-9561-7469f01a934b" providerId="ADAL" clId="{9FDA4BA0-A2F5-4699-A86C-68FAFD75DF40}" dt="2019-02-22T10:58:58.623" v="2140" actId="2696"/>
        <pc:sldMkLst>
          <pc:docMk/>
          <pc:sldMk cId="2395217410" sldId="455"/>
        </pc:sldMkLst>
      </pc:sldChg>
      <pc:sldChg chg="del">
        <pc:chgData name="Сергій Крючатов" userId="8e7a03ca-f59a-46b1-9561-7469f01a934b" providerId="ADAL" clId="{9FDA4BA0-A2F5-4699-A86C-68FAFD75DF40}" dt="2019-02-22T10:58:58.574" v="2139" actId="2696"/>
        <pc:sldMkLst>
          <pc:docMk/>
          <pc:sldMk cId="4113637993" sldId="456"/>
        </pc:sldMkLst>
      </pc:sldChg>
      <pc:sldChg chg="del">
        <pc:chgData name="Сергій Крючатов" userId="8e7a03ca-f59a-46b1-9561-7469f01a934b" providerId="ADAL" clId="{9FDA4BA0-A2F5-4699-A86C-68FAFD75DF40}" dt="2019-02-22T10:58:59.034" v="2153" actId="2696"/>
        <pc:sldMkLst>
          <pc:docMk/>
          <pc:sldMk cId="3474921785" sldId="457"/>
        </pc:sldMkLst>
      </pc:sldChg>
      <pc:sldChg chg="del">
        <pc:chgData name="Сергій Крючатов" userId="8e7a03ca-f59a-46b1-9561-7469f01a934b" providerId="ADAL" clId="{9FDA4BA0-A2F5-4699-A86C-68FAFD75DF40}" dt="2019-02-22T10:58:59.003" v="2152" actId="2696"/>
        <pc:sldMkLst>
          <pc:docMk/>
          <pc:sldMk cId="2946940924" sldId="458"/>
        </pc:sldMkLst>
      </pc:sldChg>
      <pc:sldChg chg="del">
        <pc:chgData name="Сергій Крючатов" userId="8e7a03ca-f59a-46b1-9561-7469f01a934b" providerId="ADAL" clId="{9FDA4BA0-A2F5-4699-A86C-68FAFD75DF40}" dt="2019-02-22T10:58:59.904" v="2183" actId="2696"/>
        <pc:sldMkLst>
          <pc:docMk/>
          <pc:sldMk cId="3291163176" sldId="459"/>
        </pc:sldMkLst>
      </pc:sldChg>
      <pc:sldChg chg="del">
        <pc:chgData name="Сергій Крючатов" userId="8e7a03ca-f59a-46b1-9561-7469f01a934b" providerId="ADAL" clId="{9FDA4BA0-A2F5-4699-A86C-68FAFD75DF40}" dt="2019-02-22T10:58:59.930" v="2184" actId="2696"/>
        <pc:sldMkLst>
          <pc:docMk/>
          <pc:sldMk cId="1999119982" sldId="460"/>
        </pc:sldMkLst>
      </pc:sldChg>
      <pc:sldChg chg="del">
        <pc:chgData name="Сергій Крючатов" userId="8e7a03ca-f59a-46b1-9561-7469f01a934b" providerId="ADAL" clId="{9FDA4BA0-A2F5-4699-A86C-68FAFD75DF40}" dt="2019-02-22T10:58:59.830" v="2179" actId="2696"/>
        <pc:sldMkLst>
          <pc:docMk/>
          <pc:sldMk cId="275458811" sldId="461"/>
        </pc:sldMkLst>
      </pc:sldChg>
      <pc:sldChg chg="del">
        <pc:chgData name="Сергій Крючатов" userId="8e7a03ca-f59a-46b1-9561-7469f01a934b" providerId="ADAL" clId="{9FDA4BA0-A2F5-4699-A86C-68FAFD75DF40}" dt="2019-02-22T10:58:56.564" v="2102" actId="2696"/>
        <pc:sldMkLst>
          <pc:docMk/>
          <pc:sldMk cId="1793145993" sldId="464"/>
        </pc:sldMkLst>
      </pc:sldChg>
      <pc:sldChg chg="del">
        <pc:chgData name="Сергій Крючатов" userId="8e7a03ca-f59a-46b1-9561-7469f01a934b" providerId="ADAL" clId="{9FDA4BA0-A2F5-4699-A86C-68FAFD75DF40}" dt="2019-02-22T10:58:58.650" v="2141" actId="2696"/>
        <pc:sldMkLst>
          <pc:docMk/>
          <pc:sldMk cId="1880947931" sldId="465"/>
        </pc:sldMkLst>
      </pc:sldChg>
      <pc:sldChg chg="del">
        <pc:chgData name="Сергій Крючатов" userId="8e7a03ca-f59a-46b1-9561-7469f01a934b" providerId="ADAL" clId="{9FDA4BA0-A2F5-4699-A86C-68FAFD75DF40}" dt="2019-02-22T07:22:28.824" v="81" actId="2696"/>
        <pc:sldMkLst>
          <pc:docMk/>
          <pc:sldMk cId="3574648458" sldId="466"/>
        </pc:sldMkLst>
      </pc:sldChg>
      <pc:sldChg chg="del">
        <pc:chgData name="Сергій Крючатов" userId="8e7a03ca-f59a-46b1-9561-7469f01a934b" providerId="ADAL" clId="{9FDA4BA0-A2F5-4699-A86C-68FAFD75DF40}" dt="2019-02-22T07:22:28.864" v="83" actId="2696"/>
        <pc:sldMkLst>
          <pc:docMk/>
          <pc:sldMk cId="1990858173" sldId="467"/>
        </pc:sldMkLst>
      </pc:sldChg>
      <pc:sldChg chg="modSp del ord">
        <pc:chgData name="Сергій Крючатов" userId="8e7a03ca-f59a-46b1-9561-7469f01a934b" providerId="ADAL" clId="{9FDA4BA0-A2F5-4699-A86C-68FAFD75DF40}" dt="2019-02-22T11:18:03.665" v="2560" actId="2696"/>
        <pc:sldMkLst>
          <pc:docMk/>
          <pc:sldMk cId="264457034" sldId="471"/>
        </pc:sldMkLst>
        <pc:picChg chg="mod">
          <ac:chgData name="Сергій Крючатов" userId="8e7a03ca-f59a-46b1-9561-7469f01a934b" providerId="ADAL" clId="{9FDA4BA0-A2F5-4699-A86C-68FAFD75DF40}" dt="2019-02-22T10:58:20.580" v="2091" actId="14826"/>
          <ac:picMkLst>
            <pc:docMk/>
            <pc:sldMk cId="264457034" sldId="471"/>
            <ac:picMk id="48" creationId="{00000000-0000-0000-0000-000000000000}"/>
          </ac:picMkLst>
        </pc:picChg>
      </pc:sldChg>
      <pc:sldChg chg="del">
        <pc:chgData name="Сергій Крючатов" userId="8e7a03ca-f59a-46b1-9561-7469f01a934b" providerId="ADAL" clId="{9FDA4BA0-A2F5-4699-A86C-68FAFD75DF40}" dt="2019-02-22T10:58:56.939" v="2112" actId="2696"/>
        <pc:sldMkLst>
          <pc:docMk/>
          <pc:sldMk cId="3423947562" sldId="472"/>
        </pc:sldMkLst>
      </pc:sldChg>
      <pc:sldChg chg="del">
        <pc:chgData name="Сергій Крючатов" userId="8e7a03ca-f59a-46b1-9561-7469f01a934b" providerId="ADAL" clId="{9FDA4BA0-A2F5-4699-A86C-68FAFD75DF40}" dt="2019-02-22T10:58:59.804" v="2178" actId="2696"/>
        <pc:sldMkLst>
          <pc:docMk/>
          <pc:sldMk cId="3852130271" sldId="473"/>
        </pc:sldMkLst>
      </pc:sldChg>
      <pc:sldChg chg="del">
        <pc:chgData name="Сергій Крючатов" userId="8e7a03ca-f59a-46b1-9561-7469f01a934b" providerId="ADAL" clId="{9FDA4BA0-A2F5-4699-A86C-68FAFD75DF40}" dt="2019-02-22T10:58:59.774" v="2177" actId="2696"/>
        <pc:sldMkLst>
          <pc:docMk/>
          <pc:sldMk cId="223298194" sldId="474"/>
        </pc:sldMkLst>
      </pc:sldChg>
      <pc:sldChg chg="del">
        <pc:chgData name="Сергій Крючатов" userId="8e7a03ca-f59a-46b1-9561-7469f01a934b" providerId="ADAL" clId="{9FDA4BA0-A2F5-4699-A86C-68FAFD75DF40}" dt="2019-02-22T10:58:59.870" v="2181" actId="2696"/>
        <pc:sldMkLst>
          <pc:docMk/>
          <pc:sldMk cId="2760324940" sldId="475"/>
        </pc:sldMkLst>
      </pc:sldChg>
      <pc:sldChg chg="del">
        <pc:chgData name="Сергій Крючатов" userId="8e7a03ca-f59a-46b1-9561-7469f01a934b" providerId="ADAL" clId="{9FDA4BA0-A2F5-4699-A86C-68FAFD75DF40}" dt="2019-02-22T10:58:59.860" v="2180" actId="2696"/>
        <pc:sldMkLst>
          <pc:docMk/>
          <pc:sldMk cId="4081578562" sldId="476"/>
        </pc:sldMkLst>
      </pc:sldChg>
      <pc:sldChg chg="addSp delSp modSp add del setBg">
        <pc:chgData name="Сергій Крючатов" userId="8e7a03ca-f59a-46b1-9561-7469f01a934b" providerId="ADAL" clId="{9FDA4BA0-A2F5-4699-A86C-68FAFD75DF40}" dt="2019-02-22T11:21:41.065" v="2898" actId="1076"/>
        <pc:sldMkLst>
          <pc:docMk/>
          <pc:sldMk cId="2752847427" sldId="477"/>
        </pc:sldMkLst>
        <pc:spChg chg="del">
          <ac:chgData name="Сергій Крючатов" userId="8e7a03ca-f59a-46b1-9561-7469f01a934b" providerId="ADAL" clId="{9FDA4BA0-A2F5-4699-A86C-68FAFD75DF40}" dt="2019-02-22T11:16:19.485" v="2550"/>
          <ac:spMkLst>
            <pc:docMk/>
            <pc:sldMk cId="2752847427" sldId="477"/>
            <ac:spMk id="2" creationId="{00000000-0000-0000-0000-000000000000}"/>
          </ac:spMkLst>
        </pc:spChg>
        <pc:spChg chg="del">
          <ac:chgData name="Сергій Крючатов" userId="8e7a03ca-f59a-46b1-9561-7469f01a934b" providerId="ADAL" clId="{9FDA4BA0-A2F5-4699-A86C-68FAFD75DF40}" dt="2019-02-22T11:13:08.763" v="2532" actId="931"/>
          <ac:spMkLst>
            <pc:docMk/>
            <pc:sldMk cId="2752847427" sldId="477"/>
            <ac:spMk id="4" creationId="{00000000-0000-0000-0000-000000000000}"/>
          </ac:spMkLst>
        </pc:spChg>
        <pc:spChg chg="mod">
          <ac:chgData name="Сергій Крючатов" userId="8e7a03ca-f59a-46b1-9561-7469f01a934b" providerId="ADAL" clId="{9FDA4BA0-A2F5-4699-A86C-68FAFD75DF40}" dt="2019-02-22T11:21:41.065" v="2898" actId="1076"/>
          <ac:spMkLst>
            <pc:docMk/>
            <pc:sldMk cId="2752847427" sldId="477"/>
            <ac:spMk id="8" creationId="{00000000-0000-0000-0000-000000000000}"/>
          </ac:spMkLst>
        </pc:spChg>
        <pc:spChg chg="mod">
          <ac:chgData name="Сергій Крючатов" userId="8e7a03ca-f59a-46b1-9561-7469f01a934b" providerId="ADAL" clId="{9FDA4BA0-A2F5-4699-A86C-68FAFD75DF40}" dt="2019-02-22T11:21:24.751" v="2891" actId="1076"/>
          <ac:spMkLst>
            <pc:docMk/>
            <pc:sldMk cId="2752847427" sldId="477"/>
            <ac:spMk id="11" creationId="{00000000-0000-0000-0000-000000000000}"/>
          </ac:spMkLst>
        </pc:spChg>
        <pc:spChg chg="mod">
          <ac:chgData name="Сергій Крючатов" userId="8e7a03ca-f59a-46b1-9561-7469f01a934b" providerId="ADAL" clId="{9FDA4BA0-A2F5-4699-A86C-68FAFD75DF40}" dt="2019-02-22T11:13:37.115" v="2547" actId="6549"/>
          <ac:spMkLst>
            <pc:docMk/>
            <pc:sldMk cId="2752847427" sldId="477"/>
            <ac:spMk id="17" creationId="{00000000-0000-0000-0000-000000000000}"/>
          </ac:spMkLst>
        </pc:spChg>
        <pc:spChg chg="mod">
          <ac:chgData name="Сергій Крючатов" userId="8e7a03ca-f59a-46b1-9561-7469f01a934b" providerId="ADAL" clId="{9FDA4BA0-A2F5-4699-A86C-68FAFD75DF40}" dt="2019-02-22T11:21:27.662" v="2892" actId="1076"/>
          <ac:spMkLst>
            <pc:docMk/>
            <pc:sldMk cId="2752847427" sldId="477"/>
            <ac:spMk id="18" creationId="{00000000-0000-0000-0000-000000000000}"/>
          </ac:spMkLst>
        </pc:spChg>
        <pc:spChg chg="mod">
          <ac:chgData name="Сергій Крючатов" userId="8e7a03ca-f59a-46b1-9561-7469f01a934b" providerId="ADAL" clId="{9FDA4BA0-A2F5-4699-A86C-68FAFD75DF40}" dt="2019-02-22T11:21:31.191" v="2893" actId="1076"/>
          <ac:spMkLst>
            <pc:docMk/>
            <pc:sldMk cId="2752847427" sldId="477"/>
            <ac:spMk id="22" creationId="{00000000-0000-0000-0000-000000000000}"/>
          </ac:spMkLst>
        </pc:spChg>
        <pc:spChg chg="del">
          <ac:chgData name="Сергій Крючатов" userId="8e7a03ca-f59a-46b1-9561-7469f01a934b" providerId="ADAL" clId="{9FDA4BA0-A2F5-4699-A86C-68FAFD75DF40}" dt="2019-02-22T11:14:48.442" v="2549" actId="478"/>
          <ac:spMkLst>
            <pc:docMk/>
            <pc:sldMk cId="2752847427" sldId="477"/>
            <ac:spMk id="23" creationId="{00000000-0000-0000-0000-000000000000}"/>
          </ac:spMkLst>
        </pc:spChg>
        <pc:spChg chg="mod">
          <ac:chgData name="Сергій Крючатов" userId="8e7a03ca-f59a-46b1-9561-7469f01a934b" providerId="ADAL" clId="{9FDA4BA0-A2F5-4699-A86C-68FAFD75DF40}" dt="2019-02-22T11:21:34.305" v="2894" actId="1076"/>
          <ac:spMkLst>
            <pc:docMk/>
            <pc:sldMk cId="2752847427" sldId="477"/>
            <ac:spMk id="27" creationId="{00000000-0000-0000-0000-000000000000}"/>
          </ac:spMkLst>
        </pc:spChg>
        <pc:spChg chg="mod">
          <ac:chgData name="Сергій Крючатов" userId="8e7a03ca-f59a-46b1-9561-7469f01a934b" providerId="ADAL" clId="{9FDA4BA0-A2F5-4699-A86C-68FAFD75DF40}" dt="2019-02-22T11:17:50.281" v="2559" actId="14100"/>
          <ac:spMkLst>
            <pc:docMk/>
            <pc:sldMk cId="2752847427" sldId="477"/>
            <ac:spMk id="32" creationId="{00000000-0000-0000-0000-000000000000}"/>
          </ac:spMkLst>
        </pc:spChg>
        <pc:picChg chg="add mod">
          <ac:chgData name="Сергій Крючатов" userId="8e7a03ca-f59a-46b1-9561-7469f01a934b" providerId="ADAL" clId="{9FDA4BA0-A2F5-4699-A86C-68FAFD75DF40}" dt="2019-02-22T11:13:08.763" v="2532" actId="931"/>
          <ac:picMkLst>
            <pc:docMk/>
            <pc:sldMk cId="2752847427" sldId="477"/>
            <ac:picMk id="6" creationId="{0C722BD1-2265-4976-BBBF-0132F81136EA}"/>
          </ac:picMkLst>
        </pc:picChg>
        <pc:picChg chg="add mod">
          <ac:chgData name="Сергій Крючатов" userId="8e7a03ca-f59a-46b1-9561-7469f01a934b" providerId="ADAL" clId="{9FDA4BA0-A2F5-4699-A86C-68FAFD75DF40}" dt="2019-02-22T11:16:19.485" v="2550"/>
          <ac:picMkLst>
            <pc:docMk/>
            <pc:sldMk cId="2752847427" sldId="477"/>
            <ac:picMk id="9" creationId="{95C6E505-0A35-4D4A-B7D7-45F4A43DCDDD}"/>
          </ac:picMkLst>
        </pc:picChg>
        <pc:picChg chg="add mod">
          <ac:chgData name="Сергій Крючатов" userId="8e7a03ca-f59a-46b1-9561-7469f01a934b" providerId="ADAL" clId="{9FDA4BA0-A2F5-4699-A86C-68FAFD75DF40}" dt="2019-02-22T11:16:52.540" v="2553" actId="1076"/>
          <ac:picMkLst>
            <pc:docMk/>
            <pc:sldMk cId="2752847427" sldId="477"/>
            <ac:picMk id="13" creationId="{9B41369C-03B4-492E-AEE7-3056C22C1114}"/>
          </ac:picMkLst>
        </pc:picChg>
      </pc:sldChg>
      <pc:sldChg chg="addSp delSp modSp">
        <pc:chgData name="Сергій Крючатов" userId="8e7a03ca-f59a-46b1-9561-7469f01a934b" providerId="ADAL" clId="{9FDA4BA0-A2F5-4699-A86C-68FAFD75DF40}" dt="2019-02-22T11:38:21.621" v="3220"/>
        <pc:sldMkLst>
          <pc:docMk/>
          <pc:sldMk cId="608880329" sldId="478"/>
        </pc:sldMkLst>
        <pc:spChg chg="mod">
          <ac:chgData name="Сергій Крючатов" userId="8e7a03ca-f59a-46b1-9561-7469f01a934b" providerId="ADAL" clId="{9FDA4BA0-A2F5-4699-A86C-68FAFD75DF40}" dt="2019-02-22T10:59:41.194" v="2200" actId="20577"/>
          <ac:spMkLst>
            <pc:docMk/>
            <pc:sldMk cId="608880329" sldId="478"/>
            <ac:spMk id="3" creationId="{00000000-0000-0000-0000-000000000000}"/>
          </ac:spMkLst>
        </pc:spChg>
        <pc:spChg chg="mod">
          <ac:chgData name="Сергій Крючатов" userId="8e7a03ca-f59a-46b1-9561-7469f01a934b" providerId="ADAL" clId="{9FDA4BA0-A2F5-4699-A86C-68FAFD75DF40}" dt="2019-02-22T11:00:14.220" v="2252" actId="20577"/>
          <ac:spMkLst>
            <pc:docMk/>
            <pc:sldMk cId="608880329" sldId="478"/>
            <ac:spMk id="4" creationId="{00000000-0000-0000-0000-000000000000}"/>
          </ac:spMkLst>
        </pc:spChg>
        <pc:spChg chg="del">
          <ac:chgData name="Сергій Крючатов" userId="8e7a03ca-f59a-46b1-9561-7469f01a934b" providerId="ADAL" clId="{9FDA4BA0-A2F5-4699-A86C-68FAFD75DF40}" dt="2019-02-22T11:10:43.291" v="2528" actId="478"/>
          <ac:spMkLst>
            <pc:docMk/>
            <pc:sldMk cId="608880329" sldId="478"/>
            <ac:spMk id="26" creationId="{00000000-0000-0000-0000-000000000000}"/>
          </ac:spMkLst>
        </pc:spChg>
        <pc:spChg chg="del">
          <ac:chgData name="Сергій Крючатов" userId="8e7a03ca-f59a-46b1-9561-7469f01a934b" providerId="ADAL" clId="{9FDA4BA0-A2F5-4699-A86C-68FAFD75DF40}" dt="2019-02-22T11:08:56.401" v="2475" actId="478"/>
          <ac:spMkLst>
            <pc:docMk/>
            <pc:sldMk cId="608880329" sldId="478"/>
            <ac:spMk id="30" creationId="{00000000-0000-0000-0000-000000000000}"/>
          </ac:spMkLst>
        </pc:spChg>
        <pc:spChg chg="mod">
          <ac:chgData name="Сергій Крючатов" userId="8e7a03ca-f59a-46b1-9561-7469f01a934b" providerId="ADAL" clId="{9FDA4BA0-A2F5-4699-A86C-68FAFD75DF40}" dt="2019-02-22T11:09:18.992" v="2476" actId="207"/>
          <ac:spMkLst>
            <pc:docMk/>
            <pc:sldMk cId="608880329" sldId="478"/>
            <ac:spMk id="70" creationId="{00000000-0000-0000-0000-000000000000}"/>
          </ac:spMkLst>
        </pc:spChg>
        <pc:spChg chg="mod">
          <ac:chgData name="Сергій Крючатов" userId="8e7a03ca-f59a-46b1-9561-7469f01a934b" providerId="ADAL" clId="{9FDA4BA0-A2F5-4699-A86C-68FAFD75DF40}" dt="2019-02-22T11:08:42.321" v="2473" actId="207"/>
          <ac:spMkLst>
            <pc:docMk/>
            <pc:sldMk cId="608880329" sldId="478"/>
            <ac:spMk id="71" creationId="{00000000-0000-0000-0000-000000000000}"/>
          </ac:spMkLst>
        </pc:spChg>
        <pc:spChg chg="mod">
          <ac:chgData name="Сергій Крючатов" userId="8e7a03ca-f59a-46b1-9561-7469f01a934b" providerId="ADAL" clId="{9FDA4BA0-A2F5-4699-A86C-68FAFD75DF40}" dt="2019-02-22T11:10:01.410" v="2481" actId="207"/>
          <ac:spMkLst>
            <pc:docMk/>
            <pc:sldMk cId="608880329" sldId="478"/>
            <ac:spMk id="73" creationId="{00000000-0000-0000-0000-000000000000}"/>
          </ac:spMkLst>
        </pc:spChg>
        <pc:spChg chg="mod">
          <ac:chgData name="Сергій Крючатов" userId="8e7a03ca-f59a-46b1-9561-7469f01a934b" providerId="ADAL" clId="{9FDA4BA0-A2F5-4699-A86C-68FAFD75DF40}" dt="2019-02-22T11:09:54.494" v="2480" actId="208"/>
          <ac:spMkLst>
            <pc:docMk/>
            <pc:sldMk cId="608880329" sldId="478"/>
            <ac:spMk id="74" creationId="{00000000-0000-0000-0000-000000000000}"/>
          </ac:spMkLst>
        </pc:spChg>
        <pc:spChg chg="mod">
          <ac:chgData name="Сергій Крючатов" userId="8e7a03ca-f59a-46b1-9561-7469f01a934b" providerId="ADAL" clId="{9FDA4BA0-A2F5-4699-A86C-68FAFD75DF40}" dt="2019-02-22T11:02:31.490" v="2465" actId="207"/>
          <ac:spMkLst>
            <pc:docMk/>
            <pc:sldMk cId="608880329" sldId="478"/>
            <ac:spMk id="75" creationId="{00000000-0000-0000-0000-000000000000}"/>
          </ac:spMkLst>
        </pc:spChg>
        <pc:spChg chg="mod">
          <ac:chgData name="Сергій Крючатов" userId="8e7a03ca-f59a-46b1-9561-7469f01a934b" providerId="ADAL" clId="{9FDA4BA0-A2F5-4699-A86C-68FAFD75DF40}" dt="2019-02-22T11:02:31.490" v="2465" actId="207"/>
          <ac:spMkLst>
            <pc:docMk/>
            <pc:sldMk cId="608880329" sldId="478"/>
            <ac:spMk id="76" creationId="{00000000-0000-0000-0000-000000000000}"/>
          </ac:spMkLst>
        </pc:spChg>
        <pc:spChg chg="mod">
          <ac:chgData name="Сергій Крючатов" userId="8e7a03ca-f59a-46b1-9561-7469f01a934b" providerId="ADAL" clId="{9FDA4BA0-A2F5-4699-A86C-68FAFD75DF40}" dt="2019-02-22T11:02:31.490" v="2465" actId="207"/>
          <ac:spMkLst>
            <pc:docMk/>
            <pc:sldMk cId="608880329" sldId="478"/>
            <ac:spMk id="77" creationId="{00000000-0000-0000-0000-000000000000}"/>
          </ac:spMkLst>
        </pc:spChg>
        <pc:spChg chg="mod">
          <ac:chgData name="Сергій Крючатов" userId="8e7a03ca-f59a-46b1-9561-7469f01a934b" providerId="ADAL" clId="{9FDA4BA0-A2F5-4699-A86C-68FAFD75DF40}" dt="2019-02-22T11:02:31.490" v="2465" actId="207"/>
          <ac:spMkLst>
            <pc:docMk/>
            <pc:sldMk cId="608880329" sldId="478"/>
            <ac:spMk id="78" creationId="{00000000-0000-0000-0000-000000000000}"/>
          </ac:spMkLst>
        </pc:spChg>
        <pc:spChg chg="mod">
          <ac:chgData name="Сергій Крючатов" userId="8e7a03ca-f59a-46b1-9561-7469f01a934b" providerId="ADAL" clId="{9FDA4BA0-A2F5-4699-A86C-68FAFD75DF40}" dt="2019-02-22T11:02:31.490" v="2465" actId="207"/>
          <ac:spMkLst>
            <pc:docMk/>
            <pc:sldMk cId="608880329" sldId="478"/>
            <ac:spMk id="79" creationId="{00000000-0000-0000-0000-000000000000}"/>
          </ac:spMkLst>
        </pc:spChg>
        <pc:spChg chg="mod">
          <ac:chgData name="Сергій Крючатов" userId="8e7a03ca-f59a-46b1-9561-7469f01a934b" providerId="ADAL" clId="{9FDA4BA0-A2F5-4699-A86C-68FAFD75DF40}" dt="2019-02-22T11:02:41.774" v="2469" actId="20577"/>
          <ac:spMkLst>
            <pc:docMk/>
            <pc:sldMk cId="608880329" sldId="478"/>
            <ac:spMk id="80" creationId="{00000000-0000-0000-0000-000000000000}"/>
          </ac:spMkLst>
        </pc:spChg>
        <pc:spChg chg="mod">
          <ac:chgData name="Сергій Крючатов" userId="8e7a03ca-f59a-46b1-9561-7469f01a934b" providerId="ADAL" clId="{9FDA4BA0-A2F5-4699-A86C-68FAFD75DF40}" dt="2019-02-22T11:10:21.320" v="2527" actId="20577"/>
          <ac:spMkLst>
            <pc:docMk/>
            <pc:sldMk cId="608880329" sldId="478"/>
            <ac:spMk id="81" creationId="{00000000-0000-0000-0000-000000000000}"/>
          </ac:spMkLst>
        </pc:spChg>
        <pc:spChg chg="mod">
          <ac:chgData name="Сергій Крючатов" userId="8e7a03ca-f59a-46b1-9561-7469f01a934b" providerId="ADAL" clId="{9FDA4BA0-A2F5-4699-A86C-68FAFD75DF40}" dt="2019-02-22T11:02:31.490" v="2465" actId="207"/>
          <ac:spMkLst>
            <pc:docMk/>
            <pc:sldMk cId="608880329" sldId="478"/>
            <ac:spMk id="82" creationId="{00000000-0000-0000-0000-000000000000}"/>
          </ac:spMkLst>
        </pc:spChg>
        <pc:grpChg chg="del">
          <ac:chgData name="Сергій Крючатов" userId="8e7a03ca-f59a-46b1-9561-7469f01a934b" providerId="ADAL" clId="{9FDA4BA0-A2F5-4699-A86C-68FAFD75DF40}" dt="2019-02-22T11:09:23.581" v="2477" actId="478"/>
          <ac:grpSpMkLst>
            <pc:docMk/>
            <pc:sldMk cId="608880329" sldId="478"/>
            <ac:grpSpMk id="27" creationId="{00000000-0000-0000-0000-000000000000}"/>
          </ac:grpSpMkLst>
        </pc:grpChg>
        <pc:grpChg chg="del">
          <ac:chgData name="Сергій Крючатов" userId="8e7a03ca-f59a-46b1-9561-7469f01a934b" providerId="ADAL" clId="{9FDA4BA0-A2F5-4699-A86C-68FAFD75DF40}" dt="2019-02-22T11:08:51.650" v="2474" actId="478"/>
          <ac:grpSpMkLst>
            <pc:docMk/>
            <pc:sldMk cId="608880329" sldId="478"/>
            <ac:grpSpMk id="31" creationId="{00000000-0000-0000-0000-000000000000}"/>
          </ac:grpSpMkLst>
        </pc:grpChg>
        <pc:picChg chg="add">
          <ac:chgData name="Сергій Крючатов" userId="8e7a03ca-f59a-46b1-9561-7469f01a934b" providerId="ADAL" clId="{9FDA4BA0-A2F5-4699-A86C-68FAFD75DF40}" dt="2019-02-22T11:38:21.621" v="3220"/>
          <ac:picMkLst>
            <pc:docMk/>
            <pc:sldMk cId="608880329" sldId="478"/>
            <ac:picMk id="41" creationId="{B94A2FB6-2507-483F-8709-F26994E48AB7}"/>
          </ac:picMkLst>
        </pc:picChg>
      </pc:sldChg>
      <pc:sldChg chg="modSp add del">
        <pc:chgData name="Сергій Крючатов" userId="8e7a03ca-f59a-46b1-9561-7469f01a934b" providerId="ADAL" clId="{9FDA4BA0-A2F5-4699-A86C-68FAFD75DF40}" dt="2019-02-22T09:17:11.644" v="1819" actId="2696"/>
        <pc:sldMkLst>
          <pc:docMk/>
          <pc:sldMk cId="2013726662" sldId="479"/>
        </pc:sldMkLst>
        <pc:spChg chg="mod">
          <ac:chgData name="Сергій Крючатов" userId="8e7a03ca-f59a-46b1-9561-7469f01a934b" providerId="ADAL" clId="{9FDA4BA0-A2F5-4699-A86C-68FAFD75DF40}" dt="2019-02-22T08:13:49.733" v="705" actId="20577"/>
          <ac:spMkLst>
            <pc:docMk/>
            <pc:sldMk cId="2013726662" sldId="479"/>
            <ac:spMk id="18" creationId="{00000000-0000-0000-0000-000000000000}"/>
          </ac:spMkLst>
        </pc:spChg>
        <pc:spChg chg="mod">
          <ac:chgData name="Сергій Крючатов" userId="8e7a03ca-f59a-46b1-9561-7469f01a934b" providerId="ADAL" clId="{9FDA4BA0-A2F5-4699-A86C-68FAFD75DF40}" dt="2019-02-22T08:13:54.813" v="706"/>
          <ac:spMkLst>
            <pc:docMk/>
            <pc:sldMk cId="2013726662" sldId="479"/>
            <ac:spMk id="19" creationId="{00000000-0000-0000-0000-000000000000}"/>
          </ac:spMkLst>
        </pc:spChg>
      </pc:sldChg>
      <pc:sldChg chg="addSp modSp add">
        <pc:chgData name="Сергій Крючатов" userId="8e7a03ca-f59a-46b1-9561-7469f01a934b" providerId="ADAL" clId="{9FDA4BA0-A2F5-4699-A86C-68FAFD75DF40}" dt="2019-02-22T11:37:33.061" v="3214"/>
        <pc:sldMkLst>
          <pc:docMk/>
          <pc:sldMk cId="127111345" sldId="480"/>
        </pc:sldMkLst>
        <pc:spChg chg="mod">
          <ac:chgData name="Сергій Крючатов" userId="8e7a03ca-f59a-46b1-9561-7469f01a934b" providerId="ADAL" clId="{9FDA4BA0-A2F5-4699-A86C-68FAFD75DF40}" dt="2019-02-22T08:59:08.826" v="895" actId="6549"/>
          <ac:spMkLst>
            <pc:docMk/>
            <pc:sldMk cId="127111345" sldId="480"/>
            <ac:spMk id="17" creationId="{00000000-0000-0000-0000-000000000000}"/>
          </ac:spMkLst>
        </pc:spChg>
        <pc:spChg chg="mod">
          <ac:chgData name="Сергій Крючатов" userId="8e7a03ca-f59a-46b1-9561-7469f01a934b" providerId="ADAL" clId="{9FDA4BA0-A2F5-4699-A86C-68FAFD75DF40}" dt="2019-02-22T09:16:05.481" v="1804"/>
          <ac:spMkLst>
            <pc:docMk/>
            <pc:sldMk cId="127111345" sldId="480"/>
            <ac:spMk id="18" creationId="{00000000-0000-0000-0000-000000000000}"/>
          </ac:spMkLst>
        </pc:spChg>
        <pc:spChg chg="mod">
          <ac:chgData name="Сергій Крючатов" userId="8e7a03ca-f59a-46b1-9561-7469f01a934b" providerId="ADAL" clId="{9FDA4BA0-A2F5-4699-A86C-68FAFD75DF40}" dt="2019-02-22T08:57:42.241" v="893" actId="207"/>
          <ac:spMkLst>
            <pc:docMk/>
            <pc:sldMk cId="127111345" sldId="480"/>
            <ac:spMk id="19" creationId="{00000000-0000-0000-0000-000000000000}"/>
          </ac:spMkLst>
        </pc:spChg>
        <pc:spChg chg="mod">
          <ac:chgData name="Сергій Крючатов" userId="8e7a03ca-f59a-46b1-9561-7469f01a934b" providerId="ADAL" clId="{9FDA4BA0-A2F5-4699-A86C-68FAFD75DF40}" dt="2019-02-22T08:17:53.177" v="711"/>
          <ac:spMkLst>
            <pc:docMk/>
            <pc:sldMk cId="127111345" sldId="480"/>
            <ac:spMk id="21" creationId="{00000000-0000-0000-0000-000000000000}"/>
          </ac:spMkLst>
        </pc:spChg>
        <pc:spChg chg="mod">
          <ac:chgData name="Сергій Крючатов" userId="8e7a03ca-f59a-46b1-9561-7469f01a934b" providerId="ADAL" clId="{9FDA4BA0-A2F5-4699-A86C-68FAFD75DF40}" dt="2019-02-22T08:57:12.511" v="889" actId="1076"/>
          <ac:spMkLst>
            <pc:docMk/>
            <pc:sldMk cId="127111345" sldId="480"/>
            <ac:spMk id="22" creationId="{00000000-0000-0000-0000-000000000000}"/>
          </ac:spMkLst>
        </pc:spChg>
        <pc:spChg chg="mod">
          <ac:chgData name="Сергій Крючатов" userId="8e7a03ca-f59a-46b1-9561-7469f01a934b" providerId="ADAL" clId="{9FDA4BA0-A2F5-4699-A86C-68FAFD75DF40}" dt="2019-02-22T08:18:11.607" v="733" actId="20577"/>
          <ac:spMkLst>
            <pc:docMk/>
            <pc:sldMk cId="127111345" sldId="480"/>
            <ac:spMk id="23" creationId="{00000000-0000-0000-0000-000000000000}"/>
          </ac:spMkLst>
        </pc:spChg>
        <pc:spChg chg="mod">
          <ac:chgData name="Сергій Крючатов" userId="8e7a03ca-f59a-46b1-9561-7469f01a934b" providerId="ADAL" clId="{9FDA4BA0-A2F5-4699-A86C-68FAFD75DF40}" dt="2019-02-22T08:18:24.277" v="762" actId="20577"/>
          <ac:spMkLst>
            <pc:docMk/>
            <pc:sldMk cId="127111345" sldId="480"/>
            <ac:spMk id="24" creationId="{00000000-0000-0000-0000-000000000000}"/>
          </ac:spMkLst>
        </pc:spChg>
        <pc:picChg chg="mod">
          <ac:chgData name="Сергій Крючатов" userId="8e7a03ca-f59a-46b1-9561-7469f01a934b" providerId="ADAL" clId="{9FDA4BA0-A2F5-4699-A86C-68FAFD75DF40}" dt="2019-02-22T08:18:32.003" v="763" actId="14826"/>
          <ac:picMkLst>
            <pc:docMk/>
            <pc:sldMk cId="127111345" sldId="480"/>
            <ac:picMk id="6" creationId="{C7DE20D8-906C-4152-A2D1-1B9ED822E336}"/>
          </ac:picMkLst>
        </pc:picChg>
        <pc:picChg chg="mod modCrop">
          <ac:chgData name="Сергій Крючатов" userId="8e7a03ca-f59a-46b1-9561-7469f01a934b" providerId="ADAL" clId="{9FDA4BA0-A2F5-4699-A86C-68FAFD75DF40}" dt="2019-02-22T08:49:14.836" v="887" actId="14826"/>
          <ac:picMkLst>
            <pc:docMk/>
            <pc:sldMk cId="127111345" sldId="480"/>
            <ac:picMk id="8" creationId="{F8467CF9-9FE8-430D-9EBD-E11E652CE752}"/>
          </ac:picMkLst>
        </pc:picChg>
        <pc:picChg chg="add">
          <ac:chgData name="Сергій Крючатов" userId="8e7a03ca-f59a-46b1-9561-7469f01a934b" providerId="ADAL" clId="{9FDA4BA0-A2F5-4699-A86C-68FAFD75DF40}" dt="2019-02-22T11:37:33.061" v="3214"/>
          <ac:picMkLst>
            <pc:docMk/>
            <pc:sldMk cId="127111345" sldId="480"/>
            <ac:picMk id="12" creationId="{27A34E12-6953-4FB5-8846-FCA442B3787B}"/>
          </ac:picMkLst>
        </pc:picChg>
      </pc:sldChg>
      <pc:sldMasterChg chg="delSldLayout">
        <pc:chgData name="Сергій Крючатов" userId="8e7a03ca-f59a-46b1-9561-7469f01a934b" providerId="ADAL" clId="{9FDA4BA0-A2F5-4699-A86C-68FAFD75DF40}" dt="2019-02-22T10:58:56.980" v="2114" actId="2696"/>
        <pc:sldMasterMkLst>
          <pc:docMk/>
          <pc:sldMasterMk cId="3383929983" sldId="2147483648"/>
        </pc:sldMasterMkLst>
        <pc:sldLayoutChg chg="del">
          <pc:chgData name="Сергій Крючатов" userId="8e7a03ca-f59a-46b1-9561-7469f01a934b" providerId="ADAL" clId="{9FDA4BA0-A2F5-4699-A86C-68FAFD75DF40}" dt="2019-02-22T10:58:56.980" v="2114" actId="2696"/>
          <pc:sldLayoutMkLst>
            <pc:docMk/>
            <pc:sldMasterMk cId="3383929983" sldId="2147483648"/>
            <pc:sldLayoutMk cId="3125197950" sldId="2147483700"/>
          </pc:sldLayoutMkLst>
        </pc:sldLayoutChg>
      </pc:sldMasterChg>
    </pc:docChg>
  </pc:docChgLst>
  <pc:docChgLst>
    <pc:chgData name="Сергій Крючатов" userId="8e7a03ca-f59a-46b1-9561-7469f01a934b" providerId="ADAL" clId="{8CE770D1-3E72-42BE-9927-4DCA8820A03B}"/>
    <pc:docChg chg="undo custSel addSld delSld modSld">
      <pc:chgData name="Сергій Крючатов" userId="8e7a03ca-f59a-46b1-9561-7469f01a934b" providerId="ADAL" clId="{8CE770D1-3E72-42BE-9927-4DCA8820A03B}" dt="2019-02-22T14:41:00.730" v="367" actId="14100"/>
      <pc:docMkLst>
        <pc:docMk/>
      </pc:docMkLst>
      <pc:sldChg chg="addSp delSp modSp">
        <pc:chgData name="Сергій Крючатов" userId="8e7a03ca-f59a-46b1-9561-7469f01a934b" providerId="ADAL" clId="{8CE770D1-3E72-42BE-9927-4DCA8820A03B}" dt="2019-02-22T14:33:33.449" v="362" actId="167"/>
        <pc:sldMkLst>
          <pc:docMk/>
          <pc:sldMk cId="3642187192" sldId="272"/>
        </pc:sldMkLst>
        <pc:spChg chg="mod topLvl">
          <ac:chgData name="Сергій Крючатов" userId="8e7a03ca-f59a-46b1-9561-7469f01a934b" providerId="ADAL" clId="{8CE770D1-3E72-42BE-9927-4DCA8820A03B}" dt="2019-02-22T14:29:56.747" v="358" actId="6549"/>
          <ac:spMkLst>
            <pc:docMk/>
            <pc:sldMk cId="3642187192" sldId="272"/>
            <ac:spMk id="14" creationId="{00000000-0000-0000-0000-000000000000}"/>
          </ac:spMkLst>
        </pc:spChg>
        <pc:spChg chg="add mod ord">
          <ac:chgData name="Сергій Крючатов" userId="8e7a03ca-f59a-46b1-9561-7469f01a934b" providerId="ADAL" clId="{8CE770D1-3E72-42BE-9927-4DCA8820A03B}" dt="2019-02-22T14:33:33.449" v="362" actId="167"/>
          <ac:spMkLst>
            <pc:docMk/>
            <pc:sldMk cId="3642187192" sldId="272"/>
            <ac:spMk id="15" creationId="{56304919-E7F8-4661-B0CA-1CD8E2900463}"/>
          </ac:spMkLst>
        </pc:spChg>
        <pc:spChg chg="mod topLvl">
          <ac:chgData name="Сергій Крючатов" userId="8e7a03ca-f59a-46b1-9561-7469f01a934b" providerId="ADAL" clId="{8CE770D1-3E72-42BE-9927-4DCA8820A03B}" dt="2019-02-22T14:28:56.598" v="221" actId="1076"/>
          <ac:spMkLst>
            <pc:docMk/>
            <pc:sldMk cId="3642187192" sldId="272"/>
            <ac:spMk id="17" creationId="{00000000-0000-0000-0000-000000000000}"/>
          </ac:spMkLst>
        </pc:spChg>
        <pc:spChg chg="mod topLvl">
          <ac:chgData name="Сергій Крючатов" userId="8e7a03ca-f59a-46b1-9561-7469f01a934b" providerId="ADAL" clId="{8CE770D1-3E72-42BE-9927-4DCA8820A03B}" dt="2019-02-22T14:28:56.598" v="221" actId="1076"/>
          <ac:spMkLst>
            <pc:docMk/>
            <pc:sldMk cId="3642187192" sldId="272"/>
            <ac:spMk id="18" creationId="{00000000-0000-0000-0000-000000000000}"/>
          </ac:spMkLst>
        </pc:spChg>
        <pc:spChg chg="add mod ord">
          <ac:chgData name="Сергій Крючатов" userId="8e7a03ca-f59a-46b1-9561-7469f01a934b" providerId="ADAL" clId="{8CE770D1-3E72-42BE-9927-4DCA8820A03B}" dt="2019-02-22T14:33:33.449" v="362" actId="167"/>
          <ac:spMkLst>
            <pc:docMk/>
            <pc:sldMk cId="3642187192" sldId="272"/>
            <ac:spMk id="19" creationId="{214D20FC-2AF6-42F4-A865-F5B02DDD0539}"/>
          </ac:spMkLst>
        </pc:spChg>
        <pc:spChg chg="add mod ord">
          <ac:chgData name="Сергій Крючатов" userId="8e7a03ca-f59a-46b1-9561-7469f01a934b" providerId="ADAL" clId="{8CE770D1-3E72-42BE-9927-4DCA8820A03B}" dt="2019-02-22T14:33:33.449" v="362" actId="167"/>
          <ac:spMkLst>
            <pc:docMk/>
            <pc:sldMk cId="3642187192" sldId="272"/>
            <ac:spMk id="20" creationId="{82F64152-4762-40A1-80E6-9F3119D7ABEF}"/>
          </ac:spMkLst>
        </pc:spChg>
        <pc:spChg chg="add del">
          <ac:chgData name="Сергій Крючатов" userId="8e7a03ca-f59a-46b1-9561-7469f01a934b" providerId="ADAL" clId="{8CE770D1-3E72-42BE-9927-4DCA8820A03B}" dt="2019-02-22T14:29:03.748" v="223"/>
          <ac:spMkLst>
            <pc:docMk/>
            <pc:sldMk cId="3642187192" sldId="272"/>
            <ac:spMk id="21" creationId="{1029FFCE-FA6C-45A4-AE85-AE7D18C85F10}"/>
          </ac:spMkLst>
        </pc:spChg>
        <pc:spChg chg="mod topLvl">
          <ac:chgData name="Сергій Крючатов" userId="8e7a03ca-f59a-46b1-9561-7469f01a934b" providerId="ADAL" clId="{8CE770D1-3E72-42BE-9927-4DCA8820A03B}" dt="2019-02-22T14:28:56.598" v="221" actId="1076"/>
          <ac:spMkLst>
            <pc:docMk/>
            <pc:sldMk cId="3642187192" sldId="272"/>
            <ac:spMk id="24" creationId="{00000000-0000-0000-0000-000000000000}"/>
          </ac:spMkLst>
        </pc:spChg>
        <pc:spChg chg="mod topLvl">
          <ac:chgData name="Сергій Крючатов" userId="8e7a03ca-f59a-46b1-9561-7469f01a934b" providerId="ADAL" clId="{8CE770D1-3E72-42BE-9927-4DCA8820A03B}" dt="2019-02-22T14:28:56.598" v="221" actId="1076"/>
          <ac:spMkLst>
            <pc:docMk/>
            <pc:sldMk cId="3642187192" sldId="272"/>
            <ac:spMk id="25" creationId="{00000000-0000-0000-0000-000000000000}"/>
          </ac:spMkLst>
        </pc:spChg>
        <pc:spChg chg="mod topLvl">
          <ac:chgData name="Сергій Крючатов" userId="8e7a03ca-f59a-46b1-9561-7469f01a934b" providerId="ADAL" clId="{8CE770D1-3E72-42BE-9927-4DCA8820A03B}" dt="2019-02-22T14:28:56.598" v="221" actId="1076"/>
          <ac:spMkLst>
            <pc:docMk/>
            <pc:sldMk cId="3642187192" sldId="272"/>
            <ac:spMk id="26" creationId="{00000000-0000-0000-0000-000000000000}"/>
          </ac:spMkLst>
        </pc:spChg>
        <pc:spChg chg="add del">
          <ac:chgData name="Сергій Крючатов" userId="8e7a03ca-f59a-46b1-9561-7469f01a934b" providerId="ADAL" clId="{8CE770D1-3E72-42BE-9927-4DCA8820A03B}" dt="2019-02-22T14:29:03.748" v="223"/>
          <ac:spMkLst>
            <pc:docMk/>
            <pc:sldMk cId="3642187192" sldId="272"/>
            <ac:spMk id="27" creationId="{9F6AA8D5-9A64-4108-891C-EE6C2C8A0F5B}"/>
          </ac:spMkLst>
        </pc:spChg>
        <pc:spChg chg="add del">
          <ac:chgData name="Сергій Крючатов" userId="8e7a03ca-f59a-46b1-9561-7469f01a934b" providerId="ADAL" clId="{8CE770D1-3E72-42BE-9927-4DCA8820A03B}" dt="2019-02-22T14:29:03.748" v="223"/>
          <ac:spMkLst>
            <pc:docMk/>
            <pc:sldMk cId="3642187192" sldId="272"/>
            <ac:spMk id="28" creationId="{6D1F114F-9E4B-4A77-8630-3DE2EC104BA5}"/>
          </ac:spMkLst>
        </pc:spChg>
        <pc:grpChg chg="del mod">
          <ac:chgData name="Сергій Крючатов" userId="8e7a03ca-f59a-46b1-9561-7469f01a934b" providerId="ADAL" clId="{8CE770D1-3E72-42BE-9927-4DCA8820A03B}" dt="2019-02-22T14:28:20.268" v="215" actId="165"/>
          <ac:grpSpMkLst>
            <pc:docMk/>
            <pc:sldMk cId="3642187192" sldId="272"/>
            <ac:grpSpMk id="3" creationId="{00000000-0000-0000-0000-000000000000}"/>
          </ac:grpSpMkLst>
        </pc:grpChg>
        <pc:grpChg chg="add del mod">
          <ac:chgData name="Сергій Крючатов" userId="8e7a03ca-f59a-46b1-9561-7469f01a934b" providerId="ADAL" clId="{8CE770D1-3E72-42BE-9927-4DCA8820A03B}" dt="2019-02-22T14:28:20.268" v="215" actId="165"/>
          <ac:grpSpMkLst>
            <pc:docMk/>
            <pc:sldMk cId="3642187192" sldId="272"/>
            <ac:grpSpMk id="5" creationId="{00000000-0000-0000-0000-000000000000}"/>
          </ac:grpSpMkLst>
        </pc:grpChg>
      </pc:sldChg>
      <pc:sldChg chg="addSp delSp modSp">
        <pc:chgData name="Сергій Крючатов" userId="8e7a03ca-f59a-46b1-9561-7469f01a934b" providerId="ADAL" clId="{8CE770D1-3E72-42BE-9927-4DCA8820A03B}" dt="2019-02-22T14:41:00.730" v="367" actId="14100"/>
        <pc:sldMkLst>
          <pc:docMk/>
          <pc:sldMk cId="968597331" sldId="281"/>
        </pc:sldMkLst>
        <pc:spChg chg="mod">
          <ac:chgData name="Сергій Крючатов" userId="8e7a03ca-f59a-46b1-9561-7469f01a934b" providerId="ADAL" clId="{8CE770D1-3E72-42BE-9927-4DCA8820A03B}" dt="2019-02-22T14:15:02.066" v="82"/>
          <ac:spMkLst>
            <pc:docMk/>
            <pc:sldMk cId="968597331" sldId="281"/>
            <ac:spMk id="4" creationId="{00000000-0000-0000-0000-000000000000}"/>
          </ac:spMkLst>
        </pc:spChg>
        <pc:spChg chg="del">
          <ac:chgData name="Сергій Крючатов" userId="8e7a03ca-f59a-46b1-9561-7469f01a934b" providerId="ADAL" clId="{8CE770D1-3E72-42BE-9927-4DCA8820A03B}" dt="2019-02-22T14:07:18.697" v="5"/>
          <ac:spMkLst>
            <pc:docMk/>
            <pc:sldMk cId="968597331" sldId="281"/>
            <ac:spMk id="5" creationId="{00000000-0000-0000-0000-000000000000}"/>
          </ac:spMkLst>
        </pc:spChg>
        <pc:spChg chg="add del mod">
          <ac:chgData name="Сергій Крючатов" userId="8e7a03ca-f59a-46b1-9561-7469f01a934b" providerId="ADAL" clId="{8CE770D1-3E72-42BE-9927-4DCA8820A03B}" dt="2019-02-22T14:06:58.786" v="2" actId="478"/>
          <ac:spMkLst>
            <pc:docMk/>
            <pc:sldMk cId="968597331" sldId="281"/>
            <ac:spMk id="7" creationId="{9840597A-B99F-4DB9-945F-C10A28A9DD26}"/>
          </ac:spMkLst>
        </pc:spChg>
        <pc:spChg chg="add del mod">
          <ac:chgData name="Сергій Крючатов" userId="8e7a03ca-f59a-46b1-9561-7469f01a934b" providerId="ADAL" clId="{8CE770D1-3E72-42BE-9927-4DCA8820A03B}" dt="2019-02-22T14:06:59.532" v="3" actId="478"/>
          <ac:spMkLst>
            <pc:docMk/>
            <pc:sldMk cId="968597331" sldId="281"/>
            <ac:spMk id="9" creationId="{857BE095-6222-4953-9FDC-D7C290F9D6D4}"/>
          </ac:spMkLst>
        </pc:spChg>
        <pc:spChg chg="add del mod">
          <ac:chgData name="Сергій Крючатов" userId="8e7a03ca-f59a-46b1-9561-7469f01a934b" providerId="ADAL" clId="{8CE770D1-3E72-42BE-9927-4DCA8820A03B}" dt="2019-02-22T14:07:01.333" v="4" actId="478"/>
          <ac:spMkLst>
            <pc:docMk/>
            <pc:sldMk cId="968597331" sldId="281"/>
            <ac:spMk id="11" creationId="{C583F097-E241-4373-AEF0-F231E0833A4F}"/>
          </ac:spMkLst>
        </pc:spChg>
        <pc:spChg chg="add del mod">
          <ac:chgData name="Сергій Крючатов" userId="8e7a03ca-f59a-46b1-9561-7469f01a934b" providerId="ADAL" clId="{8CE770D1-3E72-42BE-9927-4DCA8820A03B}" dt="2019-02-22T14:07:49.602" v="6" actId="931"/>
          <ac:spMkLst>
            <pc:docMk/>
            <pc:sldMk cId="968597331" sldId="281"/>
            <ac:spMk id="13" creationId="{F6EB1152-EC23-4122-9A50-C49E7B104D56}"/>
          </ac:spMkLst>
        </pc:spChg>
        <pc:spChg chg="del">
          <ac:chgData name="Сергій Крючатов" userId="8e7a03ca-f59a-46b1-9561-7469f01a934b" providerId="ADAL" clId="{8CE770D1-3E72-42BE-9927-4DCA8820A03B}" dt="2019-02-22T14:06:55.723" v="1" actId="478"/>
          <ac:spMkLst>
            <pc:docMk/>
            <pc:sldMk cId="968597331" sldId="281"/>
            <ac:spMk id="34" creationId="{00000000-0000-0000-0000-000000000000}"/>
          </ac:spMkLst>
        </pc:spChg>
        <pc:spChg chg="del">
          <ac:chgData name="Сергій Крючатов" userId="8e7a03ca-f59a-46b1-9561-7469f01a934b" providerId="ADAL" clId="{8CE770D1-3E72-42BE-9927-4DCA8820A03B}" dt="2019-02-22T14:06:55.723" v="1" actId="478"/>
          <ac:spMkLst>
            <pc:docMk/>
            <pc:sldMk cId="968597331" sldId="281"/>
            <ac:spMk id="35" creationId="{00000000-0000-0000-0000-000000000000}"/>
          </ac:spMkLst>
        </pc:spChg>
        <pc:spChg chg="del">
          <ac:chgData name="Сергій Крючатов" userId="8e7a03ca-f59a-46b1-9561-7469f01a934b" providerId="ADAL" clId="{8CE770D1-3E72-42BE-9927-4DCA8820A03B}" dt="2019-02-22T14:06:55.723" v="1" actId="478"/>
          <ac:spMkLst>
            <pc:docMk/>
            <pc:sldMk cId="968597331" sldId="281"/>
            <ac:spMk id="36" creationId="{00000000-0000-0000-0000-000000000000}"/>
          </ac:spMkLst>
        </pc:spChg>
        <pc:spChg chg="del">
          <ac:chgData name="Сергій Крючатов" userId="8e7a03ca-f59a-46b1-9561-7469f01a934b" providerId="ADAL" clId="{8CE770D1-3E72-42BE-9927-4DCA8820A03B}" dt="2019-02-22T14:06:55.723" v="1" actId="478"/>
          <ac:spMkLst>
            <pc:docMk/>
            <pc:sldMk cId="968597331" sldId="281"/>
            <ac:spMk id="46" creationId="{00000000-0000-0000-0000-000000000000}"/>
          </ac:spMkLst>
        </pc:spChg>
        <pc:spChg chg="del">
          <ac:chgData name="Сергій Крючатов" userId="8e7a03ca-f59a-46b1-9561-7469f01a934b" providerId="ADAL" clId="{8CE770D1-3E72-42BE-9927-4DCA8820A03B}" dt="2019-02-22T14:06:55.723" v="1" actId="478"/>
          <ac:spMkLst>
            <pc:docMk/>
            <pc:sldMk cId="968597331" sldId="281"/>
            <ac:spMk id="47" creationId="{00000000-0000-0000-0000-000000000000}"/>
          </ac:spMkLst>
        </pc:spChg>
        <pc:spChg chg="del">
          <ac:chgData name="Сергій Крючатов" userId="8e7a03ca-f59a-46b1-9561-7469f01a934b" providerId="ADAL" clId="{8CE770D1-3E72-42BE-9927-4DCA8820A03B}" dt="2019-02-22T14:06:55.723" v="1" actId="478"/>
          <ac:spMkLst>
            <pc:docMk/>
            <pc:sldMk cId="968597331" sldId="281"/>
            <ac:spMk id="48" creationId="{00000000-0000-0000-0000-000000000000}"/>
          </ac:spMkLst>
        </pc:spChg>
        <pc:spChg chg="del">
          <ac:chgData name="Сергій Крючатов" userId="8e7a03ca-f59a-46b1-9561-7469f01a934b" providerId="ADAL" clId="{8CE770D1-3E72-42BE-9927-4DCA8820A03B}" dt="2019-02-22T14:06:55.723" v="1" actId="478"/>
          <ac:spMkLst>
            <pc:docMk/>
            <pc:sldMk cId="968597331" sldId="281"/>
            <ac:spMk id="49" creationId="{00000000-0000-0000-0000-000000000000}"/>
          </ac:spMkLst>
        </pc:spChg>
        <pc:spChg chg="del">
          <ac:chgData name="Сергій Крючатов" userId="8e7a03ca-f59a-46b1-9561-7469f01a934b" providerId="ADAL" clId="{8CE770D1-3E72-42BE-9927-4DCA8820A03B}" dt="2019-02-22T14:06:55.723" v="1" actId="478"/>
          <ac:spMkLst>
            <pc:docMk/>
            <pc:sldMk cId="968597331" sldId="281"/>
            <ac:spMk id="50" creationId="{00000000-0000-0000-0000-000000000000}"/>
          </ac:spMkLst>
        </pc:spChg>
        <pc:spChg chg="del">
          <ac:chgData name="Сергій Крючатов" userId="8e7a03ca-f59a-46b1-9561-7469f01a934b" providerId="ADAL" clId="{8CE770D1-3E72-42BE-9927-4DCA8820A03B}" dt="2019-02-22T14:06:55.723" v="1" actId="478"/>
          <ac:spMkLst>
            <pc:docMk/>
            <pc:sldMk cId="968597331" sldId="281"/>
            <ac:spMk id="51" creationId="{00000000-0000-0000-0000-000000000000}"/>
          </ac:spMkLst>
        </pc:spChg>
        <pc:spChg chg="mod">
          <ac:chgData name="Сергій Крючатов" userId="8e7a03ca-f59a-46b1-9561-7469f01a934b" providerId="ADAL" clId="{8CE770D1-3E72-42BE-9927-4DCA8820A03B}" dt="2019-02-22T14:13:51.259" v="76" actId="12"/>
          <ac:spMkLst>
            <pc:docMk/>
            <pc:sldMk cId="968597331" sldId="281"/>
            <ac:spMk id="52" creationId="{00000000-0000-0000-0000-000000000000}"/>
          </ac:spMkLst>
        </pc:spChg>
        <pc:picChg chg="del">
          <ac:chgData name="Сергій Крючатов" userId="8e7a03ca-f59a-46b1-9561-7469f01a934b" providerId="ADAL" clId="{8CE770D1-3E72-42BE-9927-4DCA8820A03B}" dt="2019-02-22T14:06:55.723" v="1" actId="478"/>
          <ac:picMkLst>
            <pc:docMk/>
            <pc:sldMk cId="968597331" sldId="281"/>
            <ac:picMk id="12" creationId="{1C40C61D-556D-4E3A-8374-6D59543A2302}"/>
          </ac:picMkLst>
        </pc:picChg>
        <pc:picChg chg="del">
          <ac:chgData name="Сергій Крючатов" userId="8e7a03ca-f59a-46b1-9561-7469f01a934b" providerId="ADAL" clId="{8CE770D1-3E72-42BE-9927-4DCA8820A03B}" dt="2019-02-22T14:06:55.723" v="1" actId="478"/>
          <ac:picMkLst>
            <pc:docMk/>
            <pc:sldMk cId="968597331" sldId="281"/>
            <ac:picMk id="14" creationId="{8C9B962C-A98E-473C-B8D3-1E44B0E41D95}"/>
          </ac:picMkLst>
        </pc:picChg>
        <pc:picChg chg="del">
          <ac:chgData name="Сергій Крючатов" userId="8e7a03ca-f59a-46b1-9561-7469f01a934b" providerId="ADAL" clId="{8CE770D1-3E72-42BE-9927-4DCA8820A03B}" dt="2019-02-22T14:06:55.723" v="1" actId="478"/>
          <ac:picMkLst>
            <pc:docMk/>
            <pc:sldMk cId="968597331" sldId="281"/>
            <ac:picMk id="16" creationId="{900727EB-5527-4BD5-9179-A1D25993E846}"/>
          </ac:picMkLst>
        </pc:picChg>
        <pc:picChg chg="add mod">
          <ac:chgData name="Сергій Крючатов" userId="8e7a03ca-f59a-46b1-9561-7469f01a934b" providerId="ADAL" clId="{8CE770D1-3E72-42BE-9927-4DCA8820A03B}" dt="2019-02-22T14:41:00.730" v="367" actId="14100"/>
          <ac:picMkLst>
            <pc:docMk/>
            <pc:sldMk cId="968597331" sldId="281"/>
            <ac:picMk id="17" creationId="{B26152D7-F46F-4D96-BD28-4AAAFA99DE28}"/>
          </ac:picMkLst>
        </pc:picChg>
      </pc:sldChg>
      <pc:sldChg chg="modSp">
        <pc:chgData name="Сергій Крючатов" userId="8e7a03ca-f59a-46b1-9561-7469f01a934b" providerId="ADAL" clId="{8CE770D1-3E72-42BE-9927-4DCA8820A03B}" dt="2019-02-22T14:16:46.666" v="99" actId="207"/>
        <pc:sldMkLst>
          <pc:docMk/>
          <pc:sldMk cId="2479516019" sldId="423"/>
        </pc:sldMkLst>
        <pc:spChg chg="mod">
          <ac:chgData name="Сергій Крючатов" userId="8e7a03ca-f59a-46b1-9561-7469f01a934b" providerId="ADAL" clId="{8CE770D1-3E72-42BE-9927-4DCA8820A03B}" dt="2019-02-22T14:16:28.905" v="97" actId="207"/>
          <ac:spMkLst>
            <pc:docMk/>
            <pc:sldMk cId="2479516019" sldId="423"/>
            <ac:spMk id="18" creationId="{00000000-0000-0000-0000-000000000000}"/>
          </ac:spMkLst>
        </pc:spChg>
        <pc:spChg chg="mod">
          <ac:chgData name="Сергій Крючатов" userId="8e7a03ca-f59a-46b1-9561-7469f01a934b" providerId="ADAL" clId="{8CE770D1-3E72-42BE-9927-4DCA8820A03B}" dt="2019-02-22T14:16:37.365" v="98" actId="207"/>
          <ac:spMkLst>
            <pc:docMk/>
            <pc:sldMk cId="2479516019" sldId="423"/>
            <ac:spMk id="20" creationId="{00000000-0000-0000-0000-000000000000}"/>
          </ac:spMkLst>
        </pc:spChg>
        <pc:spChg chg="mod">
          <ac:chgData name="Сергій Крючатов" userId="8e7a03ca-f59a-46b1-9561-7469f01a934b" providerId="ADAL" clId="{8CE770D1-3E72-42BE-9927-4DCA8820A03B}" dt="2019-02-22T14:16:46.666" v="99" actId="207"/>
          <ac:spMkLst>
            <pc:docMk/>
            <pc:sldMk cId="2479516019" sldId="423"/>
            <ac:spMk id="30" creationId="{00000000-0000-0000-0000-000000000000}"/>
          </ac:spMkLst>
        </pc:spChg>
      </pc:sldChg>
      <pc:sldChg chg="modSp">
        <pc:chgData name="Сергій Крючатов" userId="8e7a03ca-f59a-46b1-9561-7469f01a934b" providerId="ADAL" clId="{8CE770D1-3E72-42BE-9927-4DCA8820A03B}" dt="2019-02-22T14:19:44.016" v="107" actId="207"/>
        <pc:sldMkLst>
          <pc:docMk/>
          <pc:sldMk cId="3178541083" sldId="424"/>
        </pc:sldMkLst>
        <pc:spChg chg="mod">
          <ac:chgData name="Сергій Крючатов" userId="8e7a03ca-f59a-46b1-9561-7469f01a934b" providerId="ADAL" clId="{8CE770D1-3E72-42BE-9927-4DCA8820A03B}" dt="2019-02-22T14:19:30.359" v="106" actId="20577"/>
          <ac:spMkLst>
            <pc:docMk/>
            <pc:sldMk cId="3178541083" sldId="424"/>
            <ac:spMk id="19" creationId="{00000000-0000-0000-0000-000000000000}"/>
          </ac:spMkLst>
        </pc:spChg>
        <pc:spChg chg="mod">
          <ac:chgData name="Сергій Крючатов" userId="8e7a03ca-f59a-46b1-9561-7469f01a934b" providerId="ADAL" clId="{8CE770D1-3E72-42BE-9927-4DCA8820A03B}" dt="2019-02-22T14:19:44.016" v="107" actId="207"/>
          <ac:spMkLst>
            <pc:docMk/>
            <pc:sldMk cId="3178541083" sldId="424"/>
            <ac:spMk id="34" creationId="{00000000-0000-0000-0000-000000000000}"/>
          </ac:spMkLst>
        </pc:spChg>
      </pc:sldChg>
      <pc:sldChg chg="addSp modSp">
        <pc:chgData name="Сергій Крючатов" userId="8e7a03ca-f59a-46b1-9561-7469f01a934b" providerId="ADAL" clId="{8CE770D1-3E72-42BE-9927-4DCA8820A03B}" dt="2019-02-22T14:27:23.978" v="206" actId="1076"/>
        <pc:sldMkLst>
          <pc:docMk/>
          <pc:sldMk cId="608880329" sldId="478"/>
        </pc:sldMkLst>
        <pc:spChg chg="mod">
          <ac:chgData name="Сергій Крючатов" userId="8e7a03ca-f59a-46b1-9561-7469f01a934b" providerId="ADAL" clId="{8CE770D1-3E72-42BE-9927-4DCA8820A03B}" dt="2019-02-22T14:14:05.675" v="77" actId="14100"/>
          <ac:spMkLst>
            <pc:docMk/>
            <pc:sldMk cId="608880329" sldId="478"/>
            <ac:spMk id="71" creationId="{00000000-0000-0000-0000-000000000000}"/>
          </ac:spMkLst>
        </pc:spChg>
        <pc:spChg chg="mod">
          <ac:chgData name="Сергій Крючатов" userId="8e7a03ca-f59a-46b1-9561-7469f01a934b" providerId="ADAL" clId="{8CE770D1-3E72-42BE-9927-4DCA8820A03B}" dt="2019-02-22T14:14:18.356" v="80" actId="14100"/>
          <ac:spMkLst>
            <pc:docMk/>
            <pc:sldMk cId="608880329" sldId="478"/>
            <ac:spMk id="74" creationId="{00000000-0000-0000-0000-000000000000}"/>
          </ac:spMkLst>
        </pc:spChg>
        <pc:picChg chg="add mod">
          <ac:chgData name="Сергій Крючатов" userId="8e7a03ca-f59a-46b1-9561-7469f01a934b" providerId="ADAL" clId="{8CE770D1-3E72-42BE-9927-4DCA8820A03B}" dt="2019-02-22T14:27:23.978" v="206" actId="1076"/>
          <ac:picMkLst>
            <pc:docMk/>
            <pc:sldMk cId="608880329" sldId="478"/>
            <ac:picMk id="7" creationId="{D60556D7-1EB5-44C9-8875-8D77B5CFA538}"/>
          </ac:picMkLst>
        </pc:picChg>
        <pc:picChg chg="mod">
          <ac:chgData name="Сергій Крючатов" userId="8e7a03ca-f59a-46b1-9561-7469f01a934b" providerId="ADAL" clId="{8CE770D1-3E72-42BE-9927-4DCA8820A03B}" dt="2019-02-22T14:26:12.587" v="199" actId="1076"/>
          <ac:picMkLst>
            <pc:docMk/>
            <pc:sldMk cId="608880329" sldId="478"/>
            <ac:picMk id="41" creationId="{B94A2FB6-2507-483F-8709-F26994E48AB7}"/>
          </ac:picMkLst>
        </pc:picChg>
      </pc:sldChg>
      <pc:sldChg chg="addSp delSp modSp add">
        <pc:chgData name="Сергій Крючатов" userId="8e7a03ca-f59a-46b1-9561-7469f01a934b" providerId="ADAL" clId="{8CE770D1-3E72-42BE-9927-4DCA8820A03B}" dt="2019-02-22T14:30:59.078" v="361" actId="18131"/>
        <pc:sldMkLst>
          <pc:docMk/>
          <pc:sldMk cId="914076785" sldId="481"/>
        </pc:sldMkLst>
        <pc:spChg chg="del">
          <ac:chgData name="Сергій Крючатов" userId="8e7a03ca-f59a-46b1-9561-7469f01a934b" providerId="ADAL" clId="{8CE770D1-3E72-42BE-9927-4DCA8820A03B}" dt="2019-02-22T14:17:36.946" v="101"/>
          <ac:spMkLst>
            <pc:docMk/>
            <pc:sldMk cId="914076785" sldId="481"/>
            <ac:spMk id="2" creationId="{3D398A08-46E5-48D4-97A6-202B5194924D}"/>
          </ac:spMkLst>
        </pc:spChg>
        <pc:spChg chg="del">
          <ac:chgData name="Сергій Крючатов" userId="8e7a03ca-f59a-46b1-9561-7469f01a934b" providerId="ADAL" clId="{8CE770D1-3E72-42BE-9927-4DCA8820A03B}" dt="2019-02-22T14:17:36.946" v="101"/>
          <ac:spMkLst>
            <pc:docMk/>
            <pc:sldMk cId="914076785" sldId="481"/>
            <ac:spMk id="3" creationId="{50BDF435-C3D8-4D2B-822C-E8B0AA0721F8}"/>
          </ac:spMkLst>
        </pc:spChg>
        <pc:spChg chg="del">
          <ac:chgData name="Сергій Крючатов" userId="8e7a03ca-f59a-46b1-9561-7469f01a934b" providerId="ADAL" clId="{8CE770D1-3E72-42BE-9927-4DCA8820A03B}" dt="2019-02-22T14:17:36.946" v="101"/>
          <ac:spMkLst>
            <pc:docMk/>
            <pc:sldMk cId="914076785" sldId="481"/>
            <ac:spMk id="4" creationId="{9029DBC9-A036-43A9-B657-06B0F767B794}"/>
          </ac:spMkLst>
        </pc:spChg>
        <pc:spChg chg="add del mod">
          <ac:chgData name="Сергій Крючатов" userId="8e7a03ca-f59a-46b1-9561-7469f01a934b" providerId="ADAL" clId="{8CE770D1-3E72-42BE-9927-4DCA8820A03B}" dt="2019-02-22T14:25:01.940" v="188" actId="931"/>
          <ac:spMkLst>
            <pc:docMk/>
            <pc:sldMk cId="914076785" sldId="481"/>
            <ac:spMk id="5" creationId="{6C4C716C-3F80-4B3E-92DE-F80D5C58AB77}"/>
          </ac:spMkLst>
        </pc:spChg>
        <pc:spChg chg="add del mod">
          <ac:chgData name="Сергій Крючатов" userId="8e7a03ca-f59a-46b1-9561-7469f01a934b" providerId="ADAL" clId="{8CE770D1-3E72-42BE-9927-4DCA8820A03B}" dt="2019-02-22T14:24:47.590" v="187" actId="931"/>
          <ac:spMkLst>
            <pc:docMk/>
            <pc:sldMk cId="914076785" sldId="481"/>
            <ac:spMk id="6" creationId="{CB34FEA0-41A8-439C-98D6-F046E9452B9E}"/>
          </ac:spMkLst>
        </pc:spChg>
        <pc:spChg chg="add del mod">
          <ac:chgData name="Сергій Крючатов" userId="8e7a03ca-f59a-46b1-9561-7469f01a934b" providerId="ADAL" clId="{8CE770D1-3E72-42BE-9927-4DCA8820A03B}" dt="2019-02-22T14:24:40.037" v="186" actId="931"/>
          <ac:spMkLst>
            <pc:docMk/>
            <pc:sldMk cId="914076785" sldId="481"/>
            <ac:spMk id="7" creationId="{C2D1E31B-B763-4C49-B007-F053557570D2}"/>
          </ac:spMkLst>
        </pc:spChg>
        <pc:spChg chg="add del mod">
          <ac:chgData name="Сергій Крючатов" userId="8e7a03ca-f59a-46b1-9561-7469f01a934b" providerId="ADAL" clId="{8CE770D1-3E72-42BE-9927-4DCA8820A03B}" dt="2019-02-22T14:17:59.378" v="102" actId="931"/>
          <ac:spMkLst>
            <pc:docMk/>
            <pc:sldMk cId="914076785" sldId="481"/>
            <ac:spMk id="8" creationId="{141406C6-7433-4719-B0DB-7A81668439CC}"/>
          </ac:spMkLst>
        </pc:spChg>
        <pc:spChg chg="add mod">
          <ac:chgData name="Сергій Крючатов" userId="8e7a03ca-f59a-46b1-9561-7469f01a934b" providerId="ADAL" clId="{8CE770D1-3E72-42BE-9927-4DCA8820A03B}" dt="2019-02-22T14:22:26.527" v="182" actId="207"/>
          <ac:spMkLst>
            <pc:docMk/>
            <pc:sldMk cId="914076785" sldId="481"/>
            <ac:spMk id="11" creationId="{36E205C3-33FC-41E2-92DF-CC2898EF94B0}"/>
          </ac:spMkLst>
        </pc:spChg>
        <pc:spChg chg="add mod">
          <ac:chgData name="Сергій Крючатов" userId="8e7a03ca-f59a-46b1-9561-7469f01a934b" providerId="ADAL" clId="{8CE770D1-3E72-42BE-9927-4DCA8820A03B}" dt="2019-02-22T14:22:43.056" v="185" actId="207"/>
          <ac:spMkLst>
            <pc:docMk/>
            <pc:sldMk cId="914076785" sldId="481"/>
            <ac:spMk id="12" creationId="{B6B5B2CA-A71B-4CF6-8B47-524C4D40AF41}"/>
          </ac:spMkLst>
        </pc:spChg>
        <pc:spChg chg="add">
          <ac:chgData name="Сергій Крючатов" userId="8e7a03ca-f59a-46b1-9561-7469f01a934b" providerId="ADAL" clId="{8CE770D1-3E72-42BE-9927-4DCA8820A03B}" dt="2019-02-22T14:25:22.037" v="189"/>
          <ac:spMkLst>
            <pc:docMk/>
            <pc:sldMk cId="914076785" sldId="481"/>
            <ac:spMk id="19" creationId="{4A69DE5D-60AB-46A9-B825-C4CDDD49B627}"/>
          </ac:spMkLst>
        </pc:spChg>
        <pc:picChg chg="add mod">
          <ac:chgData name="Сергій Крючатов" userId="8e7a03ca-f59a-46b1-9561-7469f01a934b" providerId="ADAL" clId="{8CE770D1-3E72-42BE-9927-4DCA8820A03B}" dt="2019-02-22T14:17:59.378" v="102" actId="931"/>
          <ac:picMkLst>
            <pc:docMk/>
            <pc:sldMk cId="914076785" sldId="481"/>
            <ac:picMk id="10" creationId="{33FF2C60-AA51-4F95-83B6-472D8067CED5}"/>
          </ac:picMkLst>
        </pc:picChg>
        <pc:picChg chg="add mod">
          <ac:chgData name="Сергій Крючатов" userId="8e7a03ca-f59a-46b1-9561-7469f01a934b" providerId="ADAL" clId="{8CE770D1-3E72-42BE-9927-4DCA8820A03B}" dt="2019-02-22T14:24:40.037" v="186" actId="931"/>
          <ac:picMkLst>
            <pc:docMk/>
            <pc:sldMk cId="914076785" sldId="481"/>
            <ac:picMk id="14" creationId="{B8CC4319-35C6-411E-B32C-0DF31D28CAE3}"/>
          </ac:picMkLst>
        </pc:picChg>
        <pc:picChg chg="add mod">
          <ac:chgData name="Сергій Крючатов" userId="8e7a03ca-f59a-46b1-9561-7469f01a934b" providerId="ADAL" clId="{8CE770D1-3E72-42BE-9927-4DCA8820A03B}" dt="2019-02-22T14:24:47.590" v="187" actId="931"/>
          <ac:picMkLst>
            <pc:docMk/>
            <pc:sldMk cId="914076785" sldId="481"/>
            <ac:picMk id="16" creationId="{4548BCA4-44A4-46EC-9AB3-D5FF8D176772}"/>
          </ac:picMkLst>
        </pc:picChg>
        <pc:picChg chg="add mod modCrop">
          <ac:chgData name="Сергій Крючатов" userId="8e7a03ca-f59a-46b1-9561-7469f01a934b" providerId="ADAL" clId="{8CE770D1-3E72-42BE-9927-4DCA8820A03B}" dt="2019-02-22T14:30:59.078" v="361" actId="18131"/>
          <ac:picMkLst>
            <pc:docMk/>
            <pc:sldMk cId="914076785" sldId="481"/>
            <ac:picMk id="18" creationId="{2B38AF3D-36A6-4117-923D-D2D06164C4CE}"/>
          </ac:picMkLst>
        </pc:picChg>
        <pc:picChg chg="add">
          <ac:chgData name="Сергій Крючатов" userId="8e7a03ca-f59a-46b1-9561-7469f01a934b" providerId="ADAL" clId="{8CE770D1-3E72-42BE-9927-4DCA8820A03B}" dt="2019-02-22T14:25:22.037" v="189"/>
          <ac:picMkLst>
            <pc:docMk/>
            <pc:sldMk cId="914076785" sldId="481"/>
            <ac:picMk id="20" creationId="{439DDF45-9A78-4599-9590-4FEC1AB22E95}"/>
          </ac:picMkLst>
        </pc:picChg>
      </pc:sldChg>
      <pc:sldChg chg="add del">
        <pc:chgData name="Сергій Крючатов" userId="8e7a03ca-f59a-46b1-9561-7469f01a934b" providerId="ADAL" clId="{8CE770D1-3E72-42BE-9927-4DCA8820A03B}" dt="2019-02-22T14:14:31.419" v="81" actId="2696"/>
        <pc:sldMkLst>
          <pc:docMk/>
          <pc:sldMk cId="2665963781" sldId="481"/>
        </pc:sldMkLst>
      </pc:sldChg>
    </pc:docChg>
  </pc:docChgLst>
  <pc:docChgLst>
    <pc:chgData name="Сергій Крючатов" userId="8e7a03ca-f59a-46b1-9561-7469f01a934b" providerId="ADAL" clId="{6DB4E51F-0C7E-4AB0-9013-42391791B3E8}"/>
    <pc:docChg chg="modSld sldOrd">
      <pc:chgData name="Сергій Крючатов" userId="8e7a03ca-f59a-46b1-9561-7469f01a934b" providerId="ADAL" clId="{6DB4E51F-0C7E-4AB0-9013-42391791B3E8}" dt="2019-02-22T13:40:00.171" v="6" actId="14100"/>
      <pc:docMkLst>
        <pc:docMk/>
      </pc:docMkLst>
      <pc:sldChg chg="modSp">
        <pc:chgData name="Сергій Крючатов" userId="8e7a03ca-f59a-46b1-9561-7469f01a934b" providerId="ADAL" clId="{6DB4E51F-0C7E-4AB0-9013-42391791B3E8}" dt="2019-02-22T12:26:28.931" v="1" actId="207"/>
        <pc:sldMkLst>
          <pc:docMk/>
          <pc:sldMk cId="212687677" sldId="269"/>
        </pc:sldMkLst>
        <pc:spChg chg="mod">
          <ac:chgData name="Сергій Крючатов" userId="8e7a03ca-f59a-46b1-9561-7469f01a934b" providerId="ADAL" clId="{6DB4E51F-0C7E-4AB0-9013-42391791B3E8}" dt="2019-02-22T12:26:28.931" v="1" actId="207"/>
          <ac:spMkLst>
            <pc:docMk/>
            <pc:sldMk cId="212687677" sldId="269"/>
            <ac:spMk id="18" creationId="{00000000-0000-0000-0000-000000000000}"/>
          </ac:spMkLst>
        </pc:spChg>
      </pc:sldChg>
      <pc:sldChg chg="modSp">
        <pc:chgData name="Сергій Крючатов" userId="8e7a03ca-f59a-46b1-9561-7469f01a934b" providerId="ADAL" clId="{6DB4E51F-0C7E-4AB0-9013-42391791B3E8}" dt="2019-02-22T12:24:56.572" v="0" actId="2711"/>
        <pc:sldMkLst>
          <pc:docMk/>
          <pc:sldMk cId="2531754532" sldId="271"/>
        </pc:sldMkLst>
        <pc:spChg chg="mod">
          <ac:chgData name="Сергій Крючатов" userId="8e7a03ca-f59a-46b1-9561-7469f01a934b" providerId="ADAL" clId="{6DB4E51F-0C7E-4AB0-9013-42391791B3E8}" dt="2019-02-22T12:24:56.572" v="0" actId="2711"/>
          <ac:spMkLst>
            <pc:docMk/>
            <pc:sldMk cId="2531754532" sldId="271"/>
            <ac:spMk id="8" creationId="{00000000-0000-0000-0000-000000000000}"/>
          </ac:spMkLst>
        </pc:spChg>
      </pc:sldChg>
      <pc:sldChg chg="ord">
        <pc:chgData name="Сергій Крючатов" userId="8e7a03ca-f59a-46b1-9561-7469f01a934b" providerId="ADAL" clId="{6DB4E51F-0C7E-4AB0-9013-42391791B3E8}" dt="2019-02-22T13:04:35.757" v="2"/>
        <pc:sldMkLst>
          <pc:docMk/>
          <pc:sldMk cId="2479516019" sldId="423"/>
        </pc:sldMkLst>
      </pc:sldChg>
      <pc:sldChg chg="ord">
        <pc:chgData name="Сергій Крючатов" userId="8e7a03ca-f59a-46b1-9561-7469f01a934b" providerId="ADAL" clId="{6DB4E51F-0C7E-4AB0-9013-42391791B3E8}" dt="2019-02-22T13:04:40.157" v="3"/>
        <pc:sldMkLst>
          <pc:docMk/>
          <pc:sldMk cId="3139228762" sldId="426"/>
        </pc:sldMkLst>
      </pc:sldChg>
      <pc:sldChg chg="modSp">
        <pc:chgData name="Сергій Крючатов" userId="8e7a03ca-f59a-46b1-9561-7469f01a934b" providerId="ADAL" clId="{6DB4E51F-0C7E-4AB0-9013-42391791B3E8}" dt="2019-02-22T13:40:00.171" v="6" actId="14100"/>
        <pc:sldMkLst>
          <pc:docMk/>
          <pc:sldMk cId="608880329" sldId="478"/>
        </pc:sldMkLst>
        <pc:spChg chg="mod">
          <ac:chgData name="Сергій Крючатов" userId="8e7a03ca-f59a-46b1-9561-7469f01a934b" providerId="ADAL" clId="{6DB4E51F-0C7E-4AB0-9013-42391791B3E8}" dt="2019-02-22T13:40:00.171" v="6" actId="14100"/>
          <ac:spMkLst>
            <pc:docMk/>
            <pc:sldMk cId="608880329" sldId="478"/>
            <ac:spMk id="71" creationId="{00000000-0000-0000-0000-000000000000}"/>
          </ac:spMkLst>
        </pc:spChg>
        <pc:spChg chg="mod">
          <ac:chgData name="Сергій Крючатов" userId="8e7a03ca-f59a-46b1-9561-7469f01a934b" providerId="ADAL" clId="{6DB4E51F-0C7E-4AB0-9013-42391791B3E8}" dt="2019-02-22T13:39:25.481" v="4" actId="14100"/>
          <ac:spMkLst>
            <pc:docMk/>
            <pc:sldMk cId="608880329" sldId="478"/>
            <ac:spMk id="74" creationId="{00000000-0000-0000-0000-000000000000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5568" tIns="47784" rIns="95568" bIns="47784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5568" tIns="47784" rIns="95568" bIns="47784" rtlCol="0"/>
          <a:lstStyle>
            <a:lvl1pPr algn="r">
              <a:defRPr sz="1300"/>
            </a:lvl1pPr>
          </a:lstStyle>
          <a:p>
            <a:fld id="{15A9A6E6-3006-49ED-A4B1-2E79A7027ED8}" type="datetimeFigureOut">
              <a:rPr lang="en-US" smtClean="0"/>
              <a:t>2/25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30092"/>
            <a:ext cx="2945659" cy="498134"/>
          </a:xfrm>
          <a:prstGeom prst="rect">
            <a:avLst/>
          </a:prstGeom>
        </p:spPr>
        <p:txBody>
          <a:bodyPr vert="horz" lIns="95568" tIns="47784" rIns="95568" bIns="47784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30092"/>
            <a:ext cx="2945659" cy="498134"/>
          </a:xfrm>
          <a:prstGeom prst="rect">
            <a:avLst/>
          </a:prstGeom>
        </p:spPr>
        <p:txBody>
          <a:bodyPr vert="horz" lIns="95568" tIns="47784" rIns="95568" bIns="47784" rtlCol="0" anchor="b"/>
          <a:lstStyle>
            <a:lvl1pPr algn="r">
              <a:defRPr sz="1300"/>
            </a:lvl1pPr>
          </a:lstStyle>
          <a:p>
            <a:fld id="{212CC6BB-F91C-4555-ADD3-4648688845D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487733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5568" tIns="47784" rIns="95568" bIns="47784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5568" tIns="47784" rIns="95568" bIns="47784" rtlCol="0"/>
          <a:lstStyle>
            <a:lvl1pPr algn="r">
              <a:defRPr sz="1300"/>
            </a:lvl1pPr>
          </a:lstStyle>
          <a:p>
            <a:fld id="{D8B34673-CA6F-4E57-A6FD-93200746AA21}" type="datetimeFigureOut">
              <a:rPr lang="en-US" smtClean="0"/>
              <a:t>2/25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4713" cy="33512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568" tIns="47784" rIns="95568" bIns="47784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5568" tIns="47784" rIns="95568" bIns="47784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0092"/>
            <a:ext cx="2945659" cy="498134"/>
          </a:xfrm>
          <a:prstGeom prst="rect">
            <a:avLst/>
          </a:prstGeom>
        </p:spPr>
        <p:txBody>
          <a:bodyPr vert="horz" lIns="95568" tIns="47784" rIns="95568" bIns="47784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30092"/>
            <a:ext cx="2945659" cy="498134"/>
          </a:xfrm>
          <a:prstGeom prst="rect">
            <a:avLst/>
          </a:prstGeom>
        </p:spPr>
        <p:txBody>
          <a:bodyPr vert="horz" lIns="95568" tIns="47784" rIns="95568" bIns="47784" rtlCol="0" anchor="b"/>
          <a:lstStyle>
            <a:lvl1pPr algn="r">
              <a:defRPr sz="1300"/>
            </a:lvl1pPr>
          </a:lstStyle>
          <a:p>
            <a:fld id="{65FE8EEF-54DC-4BC8-A328-19D174F3B13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873519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wise-paas.advantech.com/en-us" TargetMode="External"/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Добрый</a:t>
            </a:r>
            <a:r>
              <a:rPr lang="ru-RU" baseline="0" dirty="0" smtClean="0"/>
              <a:t> день!</a:t>
            </a:r>
          </a:p>
          <a:p>
            <a:endParaRPr lang="ru-RU" baseline="0" dirty="0" smtClean="0"/>
          </a:p>
          <a:p>
            <a:r>
              <a:rPr lang="ru-RU" baseline="0" dirty="0" smtClean="0"/>
              <a:t>Я ___________________________, представляю на данном мероприятии Компанию ПРОКСИС и темой моего доклада будет </a:t>
            </a:r>
            <a:r>
              <a:rPr lang="en-US" dirty="0"/>
              <a:t>Advantech WISE-</a:t>
            </a:r>
            <a:r>
              <a:rPr lang="en-US" dirty="0" err="1"/>
              <a:t>Paas</a:t>
            </a:r>
            <a:r>
              <a:rPr lang="en-US" dirty="0"/>
              <a:t> </a:t>
            </a:r>
            <a:r>
              <a:rPr lang="en-US" dirty="0" err="1"/>
              <a:t>драйвер</a:t>
            </a:r>
            <a:r>
              <a:rPr lang="en-US" dirty="0"/>
              <a:t> Industry 4.0</a:t>
            </a:r>
            <a:r>
              <a:rPr lang="ru-RU" dirty="0"/>
              <a:t>.</a:t>
            </a:r>
          </a:p>
          <a:p>
            <a:endParaRPr lang="uk-UA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5FE8EEF-54DC-4BC8-A328-19D174F3B137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100496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Как пример одного</a:t>
            </a:r>
            <a:r>
              <a:rPr lang="ru-RU" baseline="0" dirty="0" smtClean="0"/>
              <a:t> из готовых решений рассмотрим решение </a:t>
            </a:r>
            <a:r>
              <a:rPr lang="en-US" baseline="0" dirty="0" err="1" smtClean="0"/>
              <a:t>iFactory</a:t>
            </a:r>
            <a:r>
              <a:rPr lang="en-US" baseline="0" dirty="0" smtClean="0"/>
              <a:t>.</a:t>
            </a:r>
          </a:p>
          <a:p>
            <a:r>
              <a:rPr lang="ru-RU" baseline="0" dirty="0" smtClean="0"/>
              <a:t>Это облачное решение включает в себя 6 разных продуктов, а именно:</a:t>
            </a:r>
          </a:p>
          <a:p>
            <a:pPr marL="220508" indent="-220508">
              <a:buAutoNum type="arabicPeriod"/>
            </a:pPr>
            <a:r>
              <a:rPr lang="ru-RU" baseline="0" dirty="0" smtClean="0"/>
              <a:t>Ситуационная комната – </a:t>
            </a:r>
            <a:r>
              <a:rPr lang="ru-RU" baseline="0" dirty="0" err="1" smtClean="0"/>
              <a:t>видеостена</a:t>
            </a:r>
            <a:r>
              <a:rPr lang="ru-RU" baseline="0" dirty="0" smtClean="0"/>
              <a:t> для отображения основных показателей производства. Координационный центр, куда будет стекаться вся ключевая информация о производстве, позволяющая контролировать все важные процессы.</a:t>
            </a:r>
          </a:p>
          <a:p>
            <a:pPr marL="220508" indent="-220508">
              <a:buAutoNum type="arabicPeriod"/>
            </a:pPr>
            <a:r>
              <a:rPr lang="ru-RU" baseline="0" dirty="0" smtClean="0"/>
              <a:t>Мониторинг сборочной линии – предоставляет основные данные о загрузке и производительности рабочих мест в режиме реального времени.</a:t>
            </a:r>
          </a:p>
          <a:p>
            <a:pPr marL="220508" indent="-220508">
              <a:buAutoNum type="arabicPeriod"/>
            </a:pPr>
            <a:r>
              <a:rPr lang="ru-RU" baseline="0" dirty="0" smtClean="0"/>
              <a:t>Мониторинг загрузки станков с ЧПУ – даёт возможность владеть информацией о текущей производительности , предстоящей загрузке, наличии инструментов и материалов.</a:t>
            </a:r>
          </a:p>
          <a:p>
            <a:pPr marL="220508" indent="-220508">
              <a:buAutoNum type="arabicPeriod"/>
            </a:pPr>
            <a:r>
              <a:rPr lang="ru-RU" baseline="0" dirty="0" smtClean="0"/>
              <a:t>Энергетический мониторинг – получение и обработка данных с узлов учёта ЭЭ для анализа и оптимизации затрат.</a:t>
            </a:r>
          </a:p>
          <a:p>
            <a:pPr marL="220508" indent="-220508">
              <a:buAutoNum type="arabicPeriod"/>
            </a:pPr>
            <a:r>
              <a:rPr lang="ru-RU" baseline="0" dirty="0" smtClean="0"/>
              <a:t>Система машинного зрения – первичная </a:t>
            </a:r>
            <a:r>
              <a:rPr lang="ru-RU" baseline="0" dirty="0" err="1" smtClean="0"/>
              <a:t>видеоинспекция</a:t>
            </a:r>
            <a:r>
              <a:rPr lang="ru-RU" baseline="0" dirty="0" smtClean="0"/>
              <a:t> и контроль готовой продукции.</a:t>
            </a:r>
          </a:p>
          <a:p>
            <a:pPr marL="220508" indent="-220508">
              <a:buAutoNum type="arabicPeriod"/>
            </a:pPr>
            <a:r>
              <a:rPr lang="ru-RU" dirty="0" smtClean="0"/>
              <a:t>Анализ</a:t>
            </a:r>
            <a:r>
              <a:rPr lang="ru-RU" baseline="0" dirty="0" smtClean="0"/>
              <a:t> климатических условий внутри фабрики и контроль выброса вредных веществ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5FE8EEF-54DC-4BC8-A328-19D174F3B137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352467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Выглядит неплохо?</a:t>
            </a:r>
          </a:p>
          <a:p>
            <a:r>
              <a:rPr lang="ru-RU" dirty="0" smtClean="0"/>
              <a:t>Но</a:t>
            </a:r>
            <a:r>
              <a:rPr lang="ru-RU" baseline="0" dirty="0" smtClean="0"/>
              <a:t> тут вы должны спросить – «А нам, что с этого?». А я должен ответить, что выгода в этом есть для всех участников рынка. Интегратор сможет быстрее создавать и внедрять готовые решения на территории конечного потребителя. Который, в свою очередь, получает своё решение в более короткий срок и за меньшие деньги и самое главное с меньшим количеством неизбежных ошибок. При этом инвесторы и акционеры так же останутся довольны, так как уменьшается срок возврата инвестиций.</a:t>
            </a:r>
          </a:p>
          <a:p>
            <a:r>
              <a:rPr lang="ru-RU" baseline="0" dirty="0" smtClean="0"/>
              <a:t>Если же вы на базе этой платформы – </a:t>
            </a:r>
            <a:r>
              <a:rPr lang="en-US" baseline="0" dirty="0" smtClean="0"/>
              <a:t>WICE-PaaS</a:t>
            </a:r>
            <a:r>
              <a:rPr lang="ru-RU" baseline="0" dirty="0" smtClean="0"/>
              <a:t>, создадите своё решение, то оно так же может быть размещено на портале, ему будет присвоен код заказа и оно станет доступно для использования всеми участниками рынка, что принесёт пользу им и прямую выгоду вам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5FE8EEF-54DC-4BC8-A328-19D174F3B137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794594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Что нужно, что бы начать?</a:t>
            </a:r>
          </a:p>
          <a:p>
            <a:r>
              <a:rPr lang="ru-RU" dirty="0" smtClean="0"/>
              <a:t>Зайти</a:t>
            </a:r>
            <a:r>
              <a:rPr lang="ru-RU" baseline="0" dirty="0" smtClean="0"/>
              <a:t> к нам на стенд, либо отсканировать </a:t>
            </a:r>
            <a:r>
              <a:rPr lang="en-US" baseline="0" dirty="0" smtClean="0"/>
              <a:t>QR-</a:t>
            </a:r>
            <a:r>
              <a:rPr lang="ru-RU" baseline="0" dirty="0" smtClean="0"/>
              <a:t>коды из этой презентации.</a:t>
            </a:r>
          </a:p>
          <a:p>
            <a:endParaRPr lang="ru-RU" baseline="0" dirty="0" smtClean="0"/>
          </a:p>
          <a:p>
            <a:r>
              <a:rPr lang="ru-RU" baseline="0" dirty="0" smtClean="0"/>
              <a:t>Можно написать нам, получить все материалы в электронном виде, включая большой технический доклад с огромным количеством  информации написанной мелким шрифтом.</a:t>
            </a:r>
          </a:p>
          <a:p>
            <a:r>
              <a:rPr lang="ru-RU" baseline="0" dirty="0" smtClean="0"/>
              <a:t>Прочитать, ничего не понять и пойти на сайт производителя </a:t>
            </a:r>
            <a:r>
              <a:rPr lang="en-US" sz="1200" b="0" i="0" u="sng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3"/>
              </a:rPr>
              <a:t>https://wise-paas.advantech.com/en-u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5FE8EEF-54DC-4BC8-A328-19D174F3B137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08525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О чём сегодня пойдёт речь.</a:t>
            </a:r>
          </a:p>
          <a:p>
            <a:r>
              <a:rPr lang="ru-RU" dirty="0" smtClean="0"/>
              <a:t>Если </a:t>
            </a:r>
            <a:r>
              <a:rPr lang="ru-RU" dirty="0" err="1" smtClean="0"/>
              <a:t>тезисно</a:t>
            </a:r>
            <a:r>
              <a:rPr lang="ru-RU" dirty="0" smtClean="0"/>
              <a:t>, то мы будем говорить про</a:t>
            </a:r>
            <a:r>
              <a:rPr lang="ru-RU" baseline="0" dirty="0" smtClean="0"/>
              <a:t> Промышленность 4.0, промышленный интернет вещей, облачные технологии, большие данные, Платформу как сервис, готовые решения и рассмотрим в качестве примера умную фабрику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5FE8EEF-54DC-4BC8-A328-19D174F3B137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868357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Индустрия 4.0 или Промышленность 4.0. Откуда взялось это 4.0?</a:t>
            </a:r>
          </a:p>
          <a:p>
            <a:r>
              <a:rPr lang="ru-RU" dirty="0" smtClean="0"/>
              <a:t>Считается, что человечество развивается скачками, благодаря технологическим</a:t>
            </a:r>
            <a:r>
              <a:rPr lang="ru-RU" baseline="0" dirty="0" smtClean="0"/>
              <a:t> революциям. </a:t>
            </a:r>
            <a:r>
              <a:rPr lang="ru-RU" baseline="0" dirty="0" err="1" smtClean="0"/>
              <a:t>Механизиця</a:t>
            </a:r>
            <a:r>
              <a:rPr lang="ru-RU" baseline="0" dirty="0" smtClean="0"/>
              <a:t> (паровые машины), </a:t>
            </a:r>
            <a:r>
              <a:rPr lang="ru-RU" baseline="0" dirty="0" smtClean="0"/>
              <a:t>массовое производство </a:t>
            </a:r>
            <a:r>
              <a:rPr lang="ru-RU" baseline="0" dirty="0" smtClean="0"/>
              <a:t>(конвейер), </a:t>
            </a:r>
            <a:r>
              <a:rPr lang="ru-RU" baseline="0" dirty="0" smtClean="0"/>
              <a:t>автоматические станки и роботизированные механизмы – это 1я, 2я и 3я промышленные революции. 4-я промышленная революция – это революция коммуникаций. Коммуникаций между роботами, управляющими машинами и людьми.</a:t>
            </a:r>
          </a:p>
          <a:p>
            <a:r>
              <a:rPr lang="ru-RU" baseline="0" dirty="0" smtClean="0"/>
              <a:t>Это всё красиво звучит, но на деле П4.0 отпугивает своей сложностью, непонятностью, неизвестностью и неочевидными преимуществами в итоге</a:t>
            </a:r>
            <a:r>
              <a:rPr lang="ru-RU" baseline="0" dirty="0" smtClean="0"/>
              <a:t>.</a:t>
            </a:r>
            <a:r>
              <a:rPr lang="en-US" baseline="0" dirty="0" smtClean="0"/>
              <a:t> </a:t>
            </a:r>
            <a:r>
              <a:rPr lang="ru-RU" baseline="0" dirty="0" smtClean="0"/>
              <a:t>Но это в том случае если начальник производства рассылает заявки на запчасти по электронной почте, а кладовщик их потом привозит на тележке. Нельзя перейти к 4й промышленной революции минуя вторую и третью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5FE8EEF-54DC-4BC8-A328-19D174F3B137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199510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baseline="0" dirty="0" smtClean="0"/>
              <a:t>Так что же нужно для создания систем уровня 4.0?</a:t>
            </a:r>
          </a:p>
          <a:p>
            <a:r>
              <a:rPr lang="ru-RU" baseline="0" dirty="0" smtClean="0"/>
              <a:t>Как минимум роботы или автоматизированные производственные системы, сеть интеллектуальных датчиков, на самом нижнем уровне производства, которые будут являться по сути промышленным интернетом вещей. Эти датчики генерируют поток информации – Биг Дата. И для хранения и обработки этой информации нужно облако. Как минимум – этого уже достаточно.</a:t>
            </a:r>
          </a:p>
          <a:p>
            <a:r>
              <a:rPr lang="ru-RU" baseline="0" dirty="0" smtClean="0"/>
              <a:t>В более сложных случаях сюда ещё добавляется аддитивное производство, виртуальная реальность, цифровые двойники и прочие подобные вещи.</a:t>
            </a:r>
            <a:endParaRPr lang="en-US" dirty="0" smtClean="0"/>
          </a:p>
          <a:p>
            <a:endParaRPr lang="ru-RU" dirty="0" smtClean="0"/>
          </a:p>
          <a:p>
            <a:r>
              <a:rPr lang="ru-RU" dirty="0" smtClean="0"/>
              <a:t>Обычное автоматизированное производство по идее насыщенно большим количеством датчиков и</a:t>
            </a:r>
            <a:r>
              <a:rPr lang="ru-RU" baseline="0" dirty="0" smtClean="0"/>
              <a:t> интеллектуальных исполнительных устройств. Научите их передавать данные между собой и на более высокий уровень и вы получите промышленный интернет вещей. Подключите облако, для хранения полученных данных, напишите алгоритмы обработки у вас практически готова </a:t>
            </a:r>
            <a:r>
              <a:rPr lang="ru-RU" baseline="0" dirty="0" err="1" smtClean="0"/>
              <a:t>киберфизическая</a:t>
            </a:r>
            <a:r>
              <a:rPr lang="ru-RU" baseline="0" dirty="0" smtClean="0"/>
              <a:t> система – автономная единица </a:t>
            </a:r>
            <a:r>
              <a:rPr lang="uk-UA" baseline="0" dirty="0" smtClean="0"/>
              <a:t>І</a:t>
            </a:r>
            <a:r>
              <a:rPr lang="en-US" baseline="0" dirty="0" smtClean="0"/>
              <a:t>4</a:t>
            </a:r>
            <a:r>
              <a:rPr lang="ru-RU" baseline="0" dirty="0" smtClean="0"/>
              <a:t>.</a:t>
            </a:r>
            <a:r>
              <a:rPr lang="en-US" baseline="0" dirty="0" smtClean="0"/>
              <a:t>0</a:t>
            </a:r>
            <a:r>
              <a:rPr lang="ru-RU" baseline="0" dirty="0" smtClean="0"/>
              <a:t>. Соедините несколько </a:t>
            </a:r>
            <a:r>
              <a:rPr lang="ru-RU" baseline="0" dirty="0" err="1" smtClean="0"/>
              <a:t>киберфизических</a:t>
            </a:r>
            <a:r>
              <a:rPr lang="ru-RU" baseline="0" dirty="0" smtClean="0"/>
              <a:t> систем между собой – и Промышленность 4.0 готова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5FE8EEF-54DC-4BC8-A328-19D174F3B137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64550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Из чего состоит </a:t>
            </a:r>
            <a:r>
              <a:rPr lang="en-US" dirty="0" err="1" smtClean="0"/>
              <a:t>IIoT</a:t>
            </a:r>
            <a:r>
              <a:rPr lang="en-US" dirty="0" smtClean="0"/>
              <a:t>? </a:t>
            </a:r>
            <a:endParaRPr lang="ru-RU" dirty="0" smtClean="0"/>
          </a:p>
          <a:p>
            <a:r>
              <a:rPr lang="ru-RU" dirty="0" smtClean="0"/>
              <a:t>Более 30 лет компания </a:t>
            </a:r>
            <a:r>
              <a:rPr lang="en-US" dirty="0" smtClean="0"/>
              <a:t>Advantech</a:t>
            </a:r>
            <a:r>
              <a:rPr lang="ru-RU" dirty="0" smtClean="0"/>
              <a:t>, разрабатывает</a:t>
            </a:r>
            <a:r>
              <a:rPr lang="ru-RU" baseline="0" dirty="0" smtClean="0"/>
              <a:t> и производит оборудование для промышленной автоматизации – преобразователи, измерительные модули, коммуникационное оборудование, промышленные компьютеры и средства отображения.</a:t>
            </a:r>
          </a:p>
          <a:p>
            <a:r>
              <a:rPr lang="ru-RU" baseline="0" dirty="0" smtClean="0"/>
              <a:t>Так что, с «железом» у нас всё хорошо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5FE8EEF-54DC-4BC8-A328-19D174F3B137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051594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Однако, совершенно очевидно, что одним «</a:t>
            </a:r>
            <a:r>
              <a:rPr lang="ru-RU" dirty="0" err="1" smtClean="0"/>
              <a:t>хардом</a:t>
            </a:r>
            <a:r>
              <a:rPr lang="ru-RU" dirty="0" smtClean="0"/>
              <a:t>» не обойтись. Современные системы немыслимы без «софта».</a:t>
            </a:r>
          </a:p>
          <a:p>
            <a:r>
              <a:rPr lang="en-US" dirty="0" smtClean="0"/>
              <a:t>SCADA,</a:t>
            </a:r>
            <a:r>
              <a:rPr lang="en-US" baseline="0" dirty="0" smtClean="0"/>
              <a:t> HMI, </a:t>
            </a:r>
            <a:r>
              <a:rPr lang="ru-RU" baseline="0" dirty="0" smtClean="0"/>
              <a:t>системы управления станками – всё это есть на современном производстве и работает это всё на изолированных компьютерах нижнего уровня без удалённого доступа и сочень ограниченными возможностями передачи информации в другие подразделения. У этих систем главная цель – это управление, без интеграции в общую сеть предприятия.</a:t>
            </a:r>
          </a:p>
          <a:p>
            <a:endParaRPr lang="uk-UA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5FE8EEF-54DC-4BC8-A328-19D174F3B137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133245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Это проблема</a:t>
            </a:r>
            <a:r>
              <a:rPr lang="ru-RU" baseline="0" dirty="0" smtClean="0"/>
              <a:t> и она имеет объяснение – нижний уровень систем, создавался в эпоху, когда о коммуникациях, облачных технологиях и прочих высоких сферах ещё даже не было речи. И как следствие этот уровень слабо приспособлен к полноценному общению.</a:t>
            </a:r>
          </a:p>
          <a:p>
            <a:r>
              <a:rPr lang="ru-RU" baseline="0" dirty="0" smtClean="0"/>
              <a:t>На верхнем уровне, аналитики работающие в облаках, вообще не догадываются о существовании каких либо механизмов. Для них вся поступающая информация - это поток чистых данных из ниоткуда.</a:t>
            </a:r>
          </a:p>
          <a:p>
            <a:r>
              <a:rPr lang="ru-RU" baseline="0" dirty="0" smtClean="0"/>
              <a:t>На лицо классический разрыв между операционными технологиями производства и информационными технологиями в чистом виде.</a:t>
            </a:r>
          </a:p>
          <a:p>
            <a:r>
              <a:rPr lang="ru-RU" baseline="0" dirty="0" smtClean="0"/>
              <a:t>И вот это отсутствие понимания между верхним и нижним уровнями является серьёзным препятствием на пути внедрения принципов Промышленности 4.0</a:t>
            </a:r>
          </a:p>
          <a:p>
            <a:endParaRPr lang="ru-RU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5FE8EEF-54DC-4BC8-A328-19D174F3B137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164563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Но, выход всё таки есть.</a:t>
            </a:r>
          </a:p>
          <a:p>
            <a:r>
              <a:rPr lang="ru-RU" dirty="0" smtClean="0"/>
              <a:t>Когда компания </a:t>
            </a:r>
            <a:r>
              <a:rPr lang="ru-RU" dirty="0" err="1" smtClean="0"/>
              <a:t>Адвантек</a:t>
            </a:r>
            <a:r>
              <a:rPr lang="ru-RU" dirty="0" smtClean="0"/>
              <a:t> начала работу над собственным</a:t>
            </a:r>
            <a:r>
              <a:rPr lang="ru-RU" baseline="0" dirty="0" smtClean="0"/>
              <a:t> софтом, уже было ясно, что  традиционные подходы уже не работают либо тормозят развитие. </a:t>
            </a:r>
          </a:p>
          <a:p>
            <a:r>
              <a:rPr lang="ru-RU" baseline="0" dirty="0" smtClean="0"/>
              <a:t>Так появилась система </a:t>
            </a:r>
            <a:r>
              <a:rPr lang="en-US" baseline="0" dirty="0" err="1" smtClean="0"/>
              <a:t>WebAccess</a:t>
            </a:r>
            <a:r>
              <a:rPr lang="en-US" baseline="0" dirty="0" smtClean="0"/>
              <a:t> – SCADA </a:t>
            </a:r>
            <a:r>
              <a:rPr lang="ru-RU" baseline="0" dirty="0" smtClean="0"/>
              <a:t>основанная на веб-интерфейсе и веб-технологиях. Это сразу предоставило невероятные возможности – удалённый доступ с экрана смартфона или планшета, распределённая система, открытые интерфейсы и т.п.</a:t>
            </a:r>
          </a:p>
          <a:p>
            <a:r>
              <a:rPr lang="ru-RU" baseline="0" dirty="0" smtClean="0"/>
              <a:t>В полной технической версии этого доклада мы рассказываем обо всех</a:t>
            </a:r>
            <a:r>
              <a:rPr lang="en-US" baseline="0" dirty="0" smtClean="0"/>
              <a:t> </a:t>
            </a:r>
            <a:r>
              <a:rPr lang="ru-RU" baseline="0" dirty="0" smtClean="0"/>
              <a:t>основных компонентах и составных частях платформы </a:t>
            </a:r>
            <a:r>
              <a:rPr lang="en-US" baseline="0" dirty="0" err="1" smtClean="0"/>
              <a:t>WebAccess</a:t>
            </a:r>
            <a:r>
              <a:rPr lang="uk-UA" baseline="0" dirty="0" smtClean="0"/>
              <a:t>, но </a:t>
            </a:r>
            <a:r>
              <a:rPr lang="uk-UA" baseline="0" dirty="0" err="1" smtClean="0"/>
              <a:t>сейчас</a:t>
            </a:r>
            <a:r>
              <a:rPr lang="uk-UA" baseline="0" dirty="0" smtClean="0"/>
              <a:t> на </a:t>
            </a:r>
            <a:r>
              <a:rPr lang="ru-RU" baseline="0" dirty="0" smtClean="0"/>
              <a:t>для нас главное то, что в основе этого решения лежат веб-технологии. А это значит, что данная платформа может отлично разместиться в облаке – публичном типа </a:t>
            </a:r>
            <a:r>
              <a:rPr lang="en-US" baseline="0" dirty="0" smtClean="0"/>
              <a:t>Microsoft Azure, AWS, Google </a:t>
            </a:r>
            <a:r>
              <a:rPr lang="ru-RU" baseline="0" dirty="0" smtClean="0"/>
              <a:t>или на собственном аппаратном ресурсе потребителя.</a:t>
            </a:r>
          </a:p>
          <a:p>
            <a:endParaRPr lang="ru-RU" baseline="0" dirty="0" smtClean="0"/>
          </a:p>
          <a:p>
            <a:pPr defTabSz="882030"/>
            <a:r>
              <a:rPr lang="ru-RU" dirty="0" smtClean="0"/>
              <a:t>И вот, основываясь на собственном оборудовании, программной</a:t>
            </a:r>
            <a:r>
              <a:rPr lang="ru-RU" baseline="0" dirty="0" smtClean="0"/>
              <a:t> </a:t>
            </a:r>
            <a:r>
              <a:rPr lang="ru-RU" dirty="0" smtClean="0"/>
              <a:t>платформе </a:t>
            </a:r>
            <a:r>
              <a:rPr lang="en-US" dirty="0" err="1" smtClean="0"/>
              <a:t>WebAccess</a:t>
            </a:r>
            <a:r>
              <a:rPr lang="en-US" baseline="0" dirty="0" smtClean="0"/>
              <a:t> </a:t>
            </a:r>
            <a:r>
              <a:rPr lang="ru-RU" baseline="0" dirty="0" smtClean="0"/>
              <a:t>и руководствуясь принципами </a:t>
            </a:r>
            <a:r>
              <a:rPr lang="en-US" baseline="0" dirty="0" smtClean="0"/>
              <a:t>I4.0</a:t>
            </a:r>
            <a:r>
              <a:rPr lang="ru-RU" baseline="0" dirty="0" smtClean="0"/>
              <a:t>, компания </a:t>
            </a:r>
            <a:r>
              <a:rPr lang="ru-RU" baseline="0" dirty="0" err="1" smtClean="0"/>
              <a:t>Адвантек</a:t>
            </a:r>
            <a:r>
              <a:rPr lang="ru-RU" baseline="0" dirty="0" smtClean="0"/>
              <a:t> предложила новую концепцию </a:t>
            </a:r>
            <a:r>
              <a:rPr lang="en-US" baseline="0" dirty="0" smtClean="0"/>
              <a:t>WISE-PaaS – </a:t>
            </a:r>
            <a:r>
              <a:rPr lang="ru-RU" baseline="0" dirty="0" smtClean="0"/>
              <a:t>платформа как сервис.</a:t>
            </a:r>
            <a:endParaRPr lang="en-US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5FE8EEF-54DC-4BC8-A328-19D174F3B137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348655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И вот наконец мы подошли к сути</a:t>
            </a:r>
            <a:r>
              <a:rPr lang="ru-RU" baseline="0" dirty="0" smtClean="0"/>
              <a:t> того, о чём идёт речь. </a:t>
            </a:r>
          </a:p>
          <a:p>
            <a:r>
              <a:rPr lang="ru-RU" baseline="0" dirty="0" smtClean="0"/>
              <a:t>Концепция </a:t>
            </a:r>
            <a:r>
              <a:rPr lang="ru-RU" noProof="1">
                <a:ea typeface="Open Sans Light" panose="020B0306030504020204" pitchFamily="34" charset="0"/>
                <a:cs typeface="Open Sans Light" panose="020B0306030504020204" pitchFamily="34" charset="0"/>
              </a:rPr>
              <a:t>WISE-PaaS – платформа как сервис, даёт возможность больше не заботится о развёртывании собственной системы </a:t>
            </a:r>
            <a:r>
              <a:rPr lang="en-US" noProof="1">
                <a:ea typeface="Open Sans Light" panose="020B0306030504020204" pitchFamily="34" charset="0"/>
                <a:cs typeface="Open Sans Light" panose="020B0306030504020204" pitchFamily="34" charset="0"/>
              </a:rPr>
              <a:t>SCADA </a:t>
            </a:r>
            <a:r>
              <a:rPr lang="ru-RU" noProof="1">
                <a:ea typeface="Open Sans Light" panose="020B0306030504020204" pitchFamily="34" charset="0"/>
                <a:cs typeface="Open Sans Light" panose="020B0306030504020204" pitchFamily="34" charset="0"/>
              </a:rPr>
              <a:t>или </a:t>
            </a:r>
            <a:r>
              <a:rPr lang="en-US" noProof="1">
                <a:ea typeface="Open Sans Light" panose="020B0306030504020204" pitchFamily="34" charset="0"/>
                <a:cs typeface="Open Sans Light" panose="020B0306030504020204" pitchFamily="34" charset="0"/>
              </a:rPr>
              <a:t>NMS</a:t>
            </a:r>
            <a:r>
              <a:rPr lang="ru-RU" noProof="1">
                <a:ea typeface="Open Sans Light" panose="020B0306030504020204" pitchFamily="34" charset="0"/>
                <a:cs typeface="Open Sans Light" panose="020B0306030504020204" pitchFamily="34" charset="0"/>
              </a:rPr>
              <a:t>. Вы идёте в магазин облачных решение, приобретаете там готовую платформу, настраиваете под свои нужды и получаете готовое решение.</a:t>
            </a:r>
          </a:p>
          <a:p>
            <a:r>
              <a:rPr lang="ru-RU" noProof="1"/>
              <a:t>Набор таких готовых стандартных решений позволил создать облачные концепции </a:t>
            </a:r>
            <a:r>
              <a:rPr lang="en-US" dirty="0" err="1"/>
              <a:t>iFactory</a:t>
            </a:r>
            <a:r>
              <a:rPr lang="en-US" dirty="0"/>
              <a:t>, </a:t>
            </a:r>
            <a:r>
              <a:rPr lang="en-US" dirty="0" err="1"/>
              <a:t>SmartCity</a:t>
            </a:r>
            <a:r>
              <a:rPr lang="en-US" dirty="0"/>
              <a:t>, </a:t>
            </a:r>
            <a:r>
              <a:rPr lang="en-US" dirty="0" err="1"/>
              <a:t>iHealth</a:t>
            </a:r>
            <a:r>
              <a:rPr lang="en-US" dirty="0"/>
              <a:t>, </a:t>
            </a:r>
            <a:r>
              <a:rPr lang="en-US" dirty="0" err="1"/>
              <a:t>iRetail</a:t>
            </a:r>
            <a:r>
              <a:rPr lang="en-US" dirty="0"/>
              <a:t> </a:t>
            </a:r>
            <a:r>
              <a:rPr lang="ru-RU" dirty="0"/>
              <a:t>и прочие. Это цифровые системы управления предприятием, городом, медицинским или торговым объектом, которые используют отработанные методы, учли бесконечное количество ошибок и могут использоваться многократно.</a:t>
            </a:r>
          </a:p>
          <a:p>
            <a:pPr defTabSz="882030"/>
            <a:r>
              <a:rPr lang="ru-RU" dirty="0"/>
              <a:t>Это есть то что называется </a:t>
            </a:r>
            <a:r>
              <a:rPr lang="en-US" dirty="0"/>
              <a:t>SRP - </a:t>
            </a:r>
            <a:r>
              <a:rPr lang="en-US" noProof="1">
                <a:solidFill>
                  <a:schemeClr val="accent6">
                    <a:lumMod val="75000"/>
                  </a:schemeClr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Solution Ready</a:t>
            </a:r>
            <a:r>
              <a:rPr lang="x-none" noProof="1">
                <a:solidFill>
                  <a:schemeClr val="accent6">
                    <a:lumMod val="75000"/>
                  </a:schemeClr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noProof="1">
                <a:solidFill>
                  <a:schemeClr val="accent6">
                    <a:lumMod val="75000"/>
                  </a:schemeClr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Packages. </a:t>
            </a:r>
            <a:r>
              <a:rPr lang="ru-RU" noProof="1">
                <a:solidFill>
                  <a:schemeClr val="accent6">
                    <a:lumMod val="75000"/>
                  </a:schemeClr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Если говорить упрощённо, то вам больше не нужно собирать вместе технологов и айтишников и учить их разговаривать друг с другом. На самом деле, конечно нужно, но это уже совсем другая история.</a:t>
            </a:r>
          </a:p>
          <a:p>
            <a:pPr defTabSz="882030"/>
            <a:r>
              <a:rPr lang="ru-RU" noProof="1">
                <a:solidFill>
                  <a:schemeClr val="accent6">
                    <a:lumMod val="75000"/>
                  </a:schemeClr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На нашем стенде, для всех заинтересованых есть прекрасные буклеты на русском языке, который содержит в себе заказные коды многих готовых решений. Заходите на сайт магазина готовых решений, регистрируйтесь,  находите нужный вам код и начинайте работать – у всех продуктов есть триальные версии.</a:t>
            </a:r>
            <a:endParaRPr lang="en-US" noProof="1">
              <a:solidFill>
                <a:schemeClr val="accent6">
                  <a:lumMod val="75000"/>
                </a:schemeClr>
              </a:solidFill>
              <a:latin typeface="Roboto Condensed" panose="02000000000000000000" pitchFamily="2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5FE8EEF-54DC-4BC8-A328-19D174F3B137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57902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6100" y="344607"/>
            <a:ext cx="10515600" cy="46193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70C3966A-647F-4612-BE76-F031A1652716}" type="datetimeFigureOut">
              <a:rPr lang="en-US" smtClean="0"/>
              <a:t>2/25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1CA209-181F-46EF-9285-755E64EE8A8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86097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0"/>
          <p:cNvSpPr>
            <a:spLocks noGrp="1"/>
          </p:cNvSpPr>
          <p:nvPr>
            <p:ph type="pic" sz="quarter" idx="16"/>
          </p:nvPr>
        </p:nvSpPr>
        <p:spPr>
          <a:xfrm>
            <a:off x="6027234" y="1554383"/>
            <a:ext cx="6164765" cy="455715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70C3966A-647F-4612-BE76-F031A1652716}" type="datetimeFigureOut">
              <a:rPr lang="en-US" smtClean="0"/>
              <a:t>2/25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490251" y="6449369"/>
            <a:ext cx="415999" cy="24938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fld id="{DB1CA209-181F-46EF-9285-755E64EE8A8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0" y="1554381"/>
            <a:ext cx="1142999" cy="455715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2" name="Picture Placeholder 10"/>
          <p:cNvSpPr>
            <a:spLocks noGrp="1"/>
          </p:cNvSpPr>
          <p:nvPr>
            <p:ph type="pic" sz="quarter" idx="14"/>
          </p:nvPr>
        </p:nvSpPr>
        <p:spPr>
          <a:xfrm>
            <a:off x="1158425" y="3826197"/>
            <a:ext cx="2407549" cy="228534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3" name="Picture Placeholder 10"/>
          <p:cNvSpPr>
            <a:spLocks noGrp="1"/>
          </p:cNvSpPr>
          <p:nvPr>
            <p:ph type="pic" sz="quarter" idx="15"/>
          </p:nvPr>
        </p:nvSpPr>
        <p:spPr>
          <a:xfrm>
            <a:off x="3581400" y="1554383"/>
            <a:ext cx="2438398" cy="2285342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079420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/>
          <p:cNvSpPr>
            <a:spLocks noGrp="1"/>
          </p:cNvSpPr>
          <p:nvPr>
            <p:ph type="pic" sz="quarter" idx="13"/>
          </p:nvPr>
        </p:nvSpPr>
        <p:spPr>
          <a:xfrm>
            <a:off x="2443163" y="2300842"/>
            <a:ext cx="2428875" cy="227181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70C3966A-647F-4612-BE76-F031A1652716}" type="datetimeFigureOut">
              <a:rPr lang="en-US" smtClean="0"/>
              <a:t>2/25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490251" y="6449369"/>
            <a:ext cx="415999" cy="24938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fld id="{DB1CA209-181F-46EF-9285-755E64EE8A8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7310437" y="2300842"/>
            <a:ext cx="2428875" cy="2271815"/>
          </a:xfrm>
        </p:spPr>
        <p:txBody>
          <a:bodyPr/>
          <a:lstStyle/>
          <a:p>
            <a:endParaRPr lang="en-US"/>
          </a:p>
        </p:txBody>
      </p:sp>
      <p:sp>
        <p:nvSpPr>
          <p:cNvPr id="17" name="Picture Placeholder 14"/>
          <p:cNvSpPr>
            <a:spLocks noGrp="1"/>
          </p:cNvSpPr>
          <p:nvPr>
            <p:ph type="pic" sz="quarter" idx="15"/>
          </p:nvPr>
        </p:nvSpPr>
        <p:spPr>
          <a:xfrm>
            <a:off x="0" y="4572657"/>
            <a:ext cx="2428875" cy="2285343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14"/>
          <p:cNvSpPr>
            <a:spLocks noGrp="1"/>
          </p:cNvSpPr>
          <p:nvPr>
            <p:ph type="pic" sz="quarter" idx="16"/>
          </p:nvPr>
        </p:nvSpPr>
        <p:spPr>
          <a:xfrm>
            <a:off x="4862512" y="4572657"/>
            <a:ext cx="2428875" cy="2285343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9" name="Picture Placeholder 14"/>
          <p:cNvSpPr>
            <a:spLocks noGrp="1"/>
          </p:cNvSpPr>
          <p:nvPr>
            <p:ph type="pic" sz="quarter" idx="17"/>
          </p:nvPr>
        </p:nvSpPr>
        <p:spPr>
          <a:xfrm>
            <a:off x="7305674" y="2300842"/>
            <a:ext cx="2428875" cy="227181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14"/>
          <p:cNvSpPr>
            <a:spLocks noGrp="1"/>
          </p:cNvSpPr>
          <p:nvPr>
            <p:ph type="pic" sz="quarter" idx="18"/>
          </p:nvPr>
        </p:nvSpPr>
        <p:spPr>
          <a:xfrm>
            <a:off x="9755186" y="4572657"/>
            <a:ext cx="2428875" cy="2285343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043440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566160" y="2247900"/>
            <a:ext cx="1008268" cy="1008268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innerShdw blurRad="114300">
              <a:prstClr val="black">
                <a:alpha val="35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1800">
                <a:solidFill>
                  <a:schemeClr val="lt1"/>
                </a:solidFill>
                <a:latin typeface="+mn-lt"/>
              </a:defRPr>
            </a:lvl1pPr>
          </a:lstStyle>
          <a:p>
            <a:pPr marL="0" lvl="0" algn="ctr" defTabSz="914377"/>
            <a:endParaRPr lang="en-US" dirty="0"/>
          </a:p>
        </p:txBody>
      </p:sp>
      <p:sp>
        <p:nvSpPr>
          <p:cNvPr id="13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4512151" y="2247900"/>
            <a:ext cx="1008268" cy="1008268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innerShdw blurRad="114300">
              <a:prstClr val="black">
                <a:alpha val="35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1800">
                <a:solidFill>
                  <a:schemeClr val="lt1"/>
                </a:solidFill>
                <a:latin typeface="+mn-lt"/>
              </a:defRPr>
            </a:lvl1pPr>
          </a:lstStyle>
          <a:p>
            <a:pPr marL="0" lvl="0" algn="ctr" defTabSz="914377"/>
            <a:endParaRPr lang="en-US" dirty="0"/>
          </a:p>
        </p:txBody>
      </p:sp>
      <p:sp>
        <p:nvSpPr>
          <p:cNvPr id="18" name="Picture Placeholder 13"/>
          <p:cNvSpPr>
            <a:spLocks noGrp="1"/>
          </p:cNvSpPr>
          <p:nvPr>
            <p:ph type="pic" sz="quarter" idx="15"/>
          </p:nvPr>
        </p:nvSpPr>
        <p:spPr>
          <a:xfrm>
            <a:off x="8465762" y="2247900"/>
            <a:ext cx="1008268" cy="1008268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innerShdw blurRad="114300">
              <a:prstClr val="black">
                <a:alpha val="35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1800">
                <a:solidFill>
                  <a:schemeClr val="lt1"/>
                </a:solidFill>
                <a:latin typeface="+mn-lt"/>
              </a:defRPr>
            </a:lvl1pPr>
          </a:lstStyle>
          <a:p>
            <a:pPr marL="0" lvl="0" algn="ctr" defTabSz="914377"/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70C3966A-647F-4612-BE76-F031A1652716}" type="datetimeFigureOut">
              <a:rPr lang="en-US" smtClean="0"/>
              <a:t>2/25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490251" y="6449369"/>
            <a:ext cx="415999" cy="24938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fld id="{DB1CA209-181F-46EF-9285-755E64EE8A8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819063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4290516" y="4009568"/>
            <a:ext cx="1851508" cy="1833176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innerShdw blurRad="114300">
              <a:prstClr val="black">
                <a:alpha val="35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18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pPr marL="0" lvl="0" algn="ctr" defTabSz="914377"/>
            <a:endParaRPr lang="en-US" dirty="0"/>
          </a:p>
        </p:txBody>
      </p:sp>
      <p:sp>
        <p:nvSpPr>
          <p:cNvPr id="18" name="Picture Placeholder 5"/>
          <p:cNvSpPr>
            <a:spLocks noGrp="1"/>
          </p:cNvSpPr>
          <p:nvPr>
            <p:ph type="pic" sz="quarter" idx="16"/>
          </p:nvPr>
        </p:nvSpPr>
        <p:spPr>
          <a:xfrm>
            <a:off x="6319142" y="4009568"/>
            <a:ext cx="1851508" cy="1833176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innerShdw blurRad="114300">
              <a:prstClr val="black">
                <a:alpha val="35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18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pPr marL="0" lvl="0" algn="ctr" defTabSz="914377"/>
            <a:endParaRPr lang="en-US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4290516" y="1955070"/>
            <a:ext cx="1851508" cy="1833176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innerShdw blurRad="114300">
              <a:prstClr val="black">
                <a:alpha val="35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18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pPr marL="0" lvl="0" algn="ctr" defTabSz="914377"/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70C3966A-647F-4612-BE76-F031A1652716}" type="datetimeFigureOut">
              <a:rPr lang="en-US" smtClean="0"/>
              <a:t>2/25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490251" y="6449369"/>
            <a:ext cx="415999" cy="24938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fld id="{DB1CA209-181F-46EF-9285-755E64EE8A8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6319142" y="1955070"/>
            <a:ext cx="1851508" cy="1833176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innerShdw blurRad="114300">
              <a:prstClr val="black">
                <a:alpha val="35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18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pPr marL="0" lvl="0" algn="ctr" defTabSz="914377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472468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70C3966A-647F-4612-BE76-F031A1652716}" type="datetimeFigureOut">
              <a:rPr lang="en-US" smtClean="0"/>
              <a:t>2/25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490251" y="6449369"/>
            <a:ext cx="415999" cy="24938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fld id="{DB1CA209-181F-46EF-9285-755E64EE8A8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1264619" y="2666547"/>
            <a:ext cx="1618488" cy="1618488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innerShdw blurRad="114300">
              <a:prstClr val="black">
                <a:alpha val="35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1800">
                <a:solidFill>
                  <a:schemeClr val="lt1"/>
                </a:solidFill>
                <a:latin typeface="+mn-lt"/>
              </a:defRPr>
            </a:lvl1pPr>
          </a:lstStyle>
          <a:p>
            <a:pPr marL="0" lvl="0" algn="ctr" defTabSz="914377"/>
            <a:endParaRPr lang="en-US" dirty="0"/>
          </a:p>
        </p:txBody>
      </p:sp>
      <p:sp>
        <p:nvSpPr>
          <p:cNvPr id="15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3942718" y="2666547"/>
            <a:ext cx="1618488" cy="1618488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innerShdw blurRad="114300">
              <a:prstClr val="black">
                <a:alpha val="35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1800">
                <a:solidFill>
                  <a:schemeClr val="lt1"/>
                </a:solidFill>
                <a:latin typeface="+mn-lt"/>
              </a:defRPr>
            </a:lvl1pPr>
          </a:lstStyle>
          <a:p>
            <a:pPr marL="0" lvl="0" algn="ctr" defTabSz="914377"/>
            <a:endParaRPr lang="en-US" dirty="0"/>
          </a:p>
        </p:txBody>
      </p:sp>
      <p:sp>
        <p:nvSpPr>
          <p:cNvPr id="16" name="Picture Placeholder 13"/>
          <p:cNvSpPr>
            <a:spLocks noGrp="1"/>
          </p:cNvSpPr>
          <p:nvPr>
            <p:ph type="pic" sz="quarter" idx="15"/>
          </p:nvPr>
        </p:nvSpPr>
        <p:spPr>
          <a:xfrm>
            <a:off x="6611292" y="2666547"/>
            <a:ext cx="1618488" cy="1618488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innerShdw blurRad="114300">
              <a:prstClr val="black">
                <a:alpha val="35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1800">
                <a:solidFill>
                  <a:schemeClr val="lt1"/>
                </a:solidFill>
                <a:latin typeface="+mn-lt"/>
              </a:defRPr>
            </a:lvl1pPr>
          </a:lstStyle>
          <a:p>
            <a:pPr marL="0" lvl="0" algn="ctr" defTabSz="914377"/>
            <a:endParaRPr lang="en-US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16"/>
          </p:nvPr>
        </p:nvSpPr>
        <p:spPr>
          <a:xfrm>
            <a:off x="9289390" y="2666547"/>
            <a:ext cx="1618488" cy="1618488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innerShdw blurRad="114300">
              <a:prstClr val="black">
                <a:alpha val="35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1800">
                <a:solidFill>
                  <a:schemeClr val="lt1"/>
                </a:solidFill>
                <a:latin typeface="+mn-lt"/>
              </a:defRPr>
            </a:lvl1pPr>
          </a:lstStyle>
          <a:p>
            <a:pPr marL="0" lvl="0" algn="ctr" defTabSz="914377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347339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976206" y="1944502"/>
            <a:ext cx="1770535" cy="1818642"/>
          </a:xfrm>
          <a:solidFill>
            <a:schemeClr val="bg1">
              <a:lumMod val="95000"/>
            </a:schemeClr>
          </a:solidFill>
          <a:ln>
            <a:noFill/>
          </a:ln>
          <a:effectLst>
            <a:innerShdw blurRad="114300">
              <a:prstClr val="black">
                <a:alpha val="35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1800">
                <a:solidFill>
                  <a:schemeClr val="lt1"/>
                </a:solidFill>
                <a:latin typeface="+mn-lt"/>
              </a:defRPr>
            </a:lvl1pPr>
          </a:lstStyle>
          <a:p>
            <a:pPr marL="0" lvl="0" algn="ctr" defTabSz="914377"/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70C3966A-647F-4612-BE76-F031A1652716}" type="datetimeFigureOut">
              <a:rPr lang="en-US" smtClean="0"/>
              <a:t>2/25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490251" y="6449369"/>
            <a:ext cx="415999" cy="24938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fld id="{DB1CA209-181F-46EF-9285-755E64EE8A8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67144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0" y="1803400"/>
            <a:ext cx="6705600" cy="4165600"/>
          </a:xfrm>
        </p:spPr>
        <p:txBody>
          <a:bodyPr/>
          <a:lstStyle>
            <a:lvl1pPr algn="ctr">
              <a:defRPr/>
            </a:lvl1pPr>
          </a:lstStyle>
          <a:p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70C3966A-647F-4612-BE76-F031A1652716}" type="datetimeFigureOut">
              <a:rPr lang="en-US" smtClean="0"/>
              <a:t>2/25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490251" y="6449369"/>
            <a:ext cx="415999" cy="24938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fld id="{DB1CA209-181F-46EF-9285-755E64EE8A8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807360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25"/>
          <p:cNvSpPr>
            <a:spLocks noGrp="1"/>
          </p:cNvSpPr>
          <p:nvPr>
            <p:ph type="pic" sz="quarter" idx="14"/>
          </p:nvPr>
        </p:nvSpPr>
        <p:spPr>
          <a:xfrm>
            <a:off x="1741714" y="1574800"/>
            <a:ext cx="1741714" cy="1521326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algn="ctr">
              <a:defRPr sz="20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70C3966A-647F-4612-BE76-F031A1652716}" type="datetimeFigureOut">
              <a:rPr lang="en-US" smtClean="0"/>
              <a:t>2/25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490251" y="6449369"/>
            <a:ext cx="415999" cy="24938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fld id="{DB1CA209-181F-46EF-9285-755E64EE8A8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3"/>
          </p:nvPr>
        </p:nvSpPr>
        <p:spPr>
          <a:xfrm>
            <a:off x="0" y="1574800"/>
            <a:ext cx="1741714" cy="1521326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algn="ctr">
              <a:defRPr sz="20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28" name="Picture Placeholder 25"/>
          <p:cNvSpPr>
            <a:spLocks noGrp="1"/>
          </p:cNvSpPr>
          <p:nvPr>
            <p:ph type="pic" sz="quarter" idx="15"/>
          </p:nvPr>
        </p:nvSpPr>
        <p:spPr>
          <a:xfrm>
            <a:off x="3483428" y="1574800"/>
            <a:ext cx="1741714" cy="1521326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algn="ctr">
              <a:defRPr sz="20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29" name="Picture Placeholder 25"/>
          <p:cNvSpPr>
            <a:spLocks noGrp="1"/>
          </p:cNvSpPr>
          <p:nvPr>
            <p:ph type="pic" sz="quarter" idx="16"/>
          </p:nvPr>
        </p:nvSpPr>
        <p:spPr>
          <a:xfrm>
            <a:off x="5225142" y="1574800"/>
            <a:ext cx="1741714" cy="1521326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algn="ctr">
              <a:defRPr sz="20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0" name="Picture Placeholder 25"/>
          <p:cNvSpPr>
            <a:spLocks noGrp="1"/>
          </p:cNvSpPr>
          <p:nvPr>
            <p:ph type="pic" sz="quarter" idx="17"/>
          </p:nvPr>
        </p:nvSpPr>
        <p:spPr>
          <a:xfrm>
            <a:off x="6966856" y="1574800"/>
            <a:ext cx="1741714" cy="1521326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algn="ctr">
              <a:defRPr sz="20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1" name="Picture Placeholder 25"/>
          <p:cNvSpPr>
            <a:spLocks noGrp="1"/>
          </p:cNvSpPr>
          <p:nvPr>
            <p:ph type="pic" sz="quarter" idx="18"/>
          </p:nvPr>
        </p:nvSpPr>
        <p:spPr>
          <a:xfrm>
            <a:off x="8708569" y="1574800"/>
            <a:ext cx="1741714" cy="1521326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algn="ctr">
              <a:defRPr sz="20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2" name="Picture Placeholder 25"/>
          <p:cNvSpPr>
            <a:spLocks noGrp="1"/>
          </p:cNvSpPr>
          <p:nvPr>
            <p:ph type="pic" sz="quarter" idx="19"/>
          </p:nvPr>
        </p:nvSpPr>
        <p:spPr>
          <a:xfrm>
            <a:off x="10450283" y="1574800"/>
            <a:ext cx="1741714" cy="1521326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algn="ctr">
              <a:defRPr sz="20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3" name="Picture Placeholder 25"/>
          <p:cNvSpPr>
            <a:spLocks noGrp="1"/>
          </p:cNvSpPr>
          <p:nvPr>
            <p:ph type="pic" sz="quarter" idx="20"/>
          </p:nvPr>
        </p:nvSpPr>
        <p:spPr>
          <a:xfrm>
            <a:off x="0" y="3096130"/>
            <a:ext cx="1741714" cy="1521326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algn="ctr">
              <a:defRPr sz="20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34" name="Picture Placeholder 25"/>
          <p:cNvSpPr>
            <a:spLocks noGrp="1"/>
          </p:cNvSpPr>
          <p:nvPr>
            <p:ph type="pic" sz="quarter" idx="21"/>
          </p:nvPr>
        </p:nvSpPr>
        <p:spPr>
          <a:xfrm>
            <a:off x="1741714" y="3096130"/>
            <a:ext cx="1741714" cy="1521326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algn="ctr">
              <a:defRPr sz="20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35" name="Picture Placeholder 25"/>
          <p:cNvSpPr>
            <a:spLocks noGrp="1"/>
          </p:cNvSpPr>
          <p:nvPr>
            <p:ph type="pic" sz="quarter" idx="22"/>
          </p:nvPr>
        </p:nvSpPr>
        <p:spPr>
          <a:xfrm>
            <a:off x="3483428" y="3096130"/>
            <a:ext cx="1741714" cy="1521326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algn="ctr">
              <a:defRPr sz="20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36" name="Picture Placeholder 25"/>
          <p:cNvSpPr>
            <a:spLocks noGrp="1"/>
          </p:cNvSpPr>
          <p:nvPr>
            <p:ph type="pic" sz="quarter" idx="23"/>
          </p:nvPr>
        </p:nvSpPr>
        <p:spPr>
          <a:xfrm>
            <a:off x="5225142" y="3096130"/>
            <a:ext cx="1741714" cy="1521326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algn="ctr">
              <a:defRPr sz="20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7" name="Picture Placeholder 25"/>
          <p:cNvSpPr>
            <a:spLocks noGrp="1"/>
          </p:cNvSpPr>
          <p:nvPr>
            <p:ph type="pic" sz="quarter" idx="24"/>
          </p:nvPr>
        </p:nvSpPr>
        <p:spPr>
          <a:xfrm>
            <a:off x="6966856" y="3096130"/>
            <a:ext cx="1741714" cy="1521326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algn="ctr">
              <a:defRPr sz="20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8" name="Picture Placeholder 25"/>
          <p:cNvSpPr>
            <a:spLocks noGrp="1"/>
          </p:cNvSpPr>
          <p:nvPr>
            <p:ph type="pic" sz="quarter" idx="25"/>
          </p:nvPr>
        </p:nvSpPr>
        <p:spPr>
          <a:xfrm>
            <a:off x="8708569" y="3096130"/>
            <a:ext cx="1741714" cy="1521326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algn="ctr">
              <a:defRPr sz="20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9" name="Picture Placeholder 25"/>
          <p:cNvSpPr>
            <a:spLocks noGrp="1"/>
          </p:cNvSpPr>
          <p:nvPr>
            <p:ph type="pic" sz="quarter" idx="26"/>
          </p:nvPr>
        </p:nvSpPr>
        <p:spPr>
          <a:xfrm>
            <a:off x="10450283" y="3096130"/>
            <a:ext cx="1741714" cy="1521326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algn="ctr">
              <a:defRPr sz="20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0" name="Picture Placeholder 25"/>
          <p:cNvSpPr>
            <a:spLocks noGrp="1"/>
          </p:cNvSpPr>
          <p:nvPr>
            <p:ph type="pic" sz="quarter" idx="27"/>
          </p:nvPr>
        </p:nvSpPr>
        <p:spPr>
          <a:xfrm>
            <a:off x="0" y="4617456"/>
            <a:ext cx="1741714" cy="1521326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algn="ctr">
              <a:defRPr sz="20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41" name="Picture Placeholder 25"/>
          <p:cNvSpPr>
            <a:spLocks noGrp="1"/>
          </p:cNvSpPr>
          <p:nvPr>
            <p:ph type="pic" sz="quarter" idx="28"/>
          </p:nvPr>
        </p:nvSpPr>
        <p:spPr>
          <a:xfrm>
            <a:off x="1741714" y="4617456"/>
            <a:ext cx="1741714" cy="1521326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algn="ctr">
              <a:defRPr sz="20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42" name="Picture Placeholder 25"/>
          <p:cNvSpPr>
            <a:spLocks noGrp="1"/>
          </p:cNvSpPr>
          <p:nvPr>
            <p:ph type="pic" sz="quarter" idx="29"/>
          </p:nvPr>
        </p:nvSpPr>
        <p:spPr>
          <a:xfrm>
            <a:off x="3483428" y="4617456"/>
            <a:ext cx="1741714" cy="1521326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algn="ctr">
              <a:defRPr sz="20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43" name="Picture Placeholder 25"/>
          <p:cNvSpPr>
            <a:spLocks noGrp="1"/>
          </p:cNvSpPr>
          <p:nvPr>
            <p:ph type="pic" sz="quarter" idx="30"/>
          </p:nvPr>
        </p:nvSpPr>
        <p:spPr>
          <a:xfrm>
            <a:off x="5225142" y="4617456"/>
            <a:ext cx="1741714" cy="1521326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algn="ctr">
              <a:defRPr sz="20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4" name="Picture Placeholder 25"/>
          <p:cNvSpPr>
            <a:spLocks noGrp="1"/>
          </p:cNvSpPr>
          <p:nvPr>
            <p:ph type="pic" sz="quarter" idx="31"/>
          </p:nvPr>
        </p:nvSpPr>
        <p:spPr>
          <a:xfrm>
            <a:off x="6966856" y="4617456"/>
            <a:ext cx="1741714" cy="1521326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algn="ctr">
              <a:defRPr sz="20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5" name="Picture Placeholder 25"/>
          <p:cNvSpPr>
            <a:spLocks noGrp="1"/>
          </p:cNvSpPr>
          <p:nvPr>
            <p:ph type="pic" sz="quarter" idx="32"/>
          </p:nvPr>
        </p:nvSpPr>
        <p:spPr>
          <a:xfrm>
            <a:off x="8708569" y="4617456"/>
            <a:ext cx="1741714" cy="1521326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algn="ctr">
              <a:defRPr sz="20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6" name="Picture Placeholder 25"/>
          <p:cNvSpPr>
            <a:spLocks noGrp="1"/>
          </p:cNvSpPr>
          <p:nvPr>
            <p:ph type="pic" sz="quarter" idx="33"/>
          </p:nvPr>
        </p:nvSpPr>
        <p:spPr>
          <a:xfrm>
            <a:off x="10450283" y="4617456"/>
            <a:ext cx="1741714" cy="1521326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algn="ctr">
              <a:defRPr sz="20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033882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1262063"/>
            <a:ext cx="12192000" cy="4876800"/>
          </a:xfrm>
        </p:spPr>
        <p:txBody>
          <a:bodyPr/>
          <a:lstStyle/>
          <a:p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70C3966A-647F-4612-BE76-F031A1652716}" type="datetimeFigureOut">
              <a:rPr lang="en-US" smtClean="0"/>
              <a:t>2/25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490251" y="6449369"/>
            <a:ext cx="415999" cy="24938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fld id="{DB1CA209-181F-46EF-9285-755E64EE8A8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>
          <a:xfrm>
            <a:off x="1565591" y="2398791"/>
            <a:ext cx="2666275" cy="2415329"/>
          </a:xfrm>
          <a:solidFill>
            <a:schemeClr val="bg1">
              <a:lumMod val="95000"/>
            </a:schemeClr>
          </a:solidFill>
          <a:ln w="28575">
            <a:solidFill>
              <a:schemeClr val="bg1">
                <a:lumMod val="95000"/>
              </a:schemeClr>
            </a:solidFill>
          </a:ln>
          <a:effectLst>
            <a:innerShdw blurRad="114300">
              <a:prstClr val="black">
                <a:alpha val="43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1800">
                <a:solidFill>
                  <a:schemeClr val="lt1"/>
                </a:solidFill>
                <a:latin typeface="+mn-lt"/>
              </a:defRPr>
            </a:lvl1pPr>
          </a:lstStyle>
          <a:p>
            <a:pPr marL="0" lvl="0" algn="ctr" defTabSz="914377"/>
            <a:endParaRPr lang="en-US"/>
          </a:p>
        </p:txBody>
      </p:sp>
      <p:sp>
        <p:nvSpPr>
          <p:cNvPr id="18" name="Picture Placeholder 16"/>
          <p:cNvSpPr>
            <a:spLocks noGrp="1"/>
          </p:cNvSpPr>
          <p:nvPr>
            <p:ph type="pic" sz="quarter" idx="15"/>
          </p:nvPr>
        </p:nvSpPr>
        <p:spPr>
          <a:xfrm>
            <a:off x="4694419" y="2398791"/>
            <a:ext cx="2666275" cy="2415329"/>
          </a:xfrm>
          <a:solidFill>
            <a:schemeClr val="bg1">
              <a:lumMod val="95000"/>
            </a:schemeClr>
          </a:solidFill>
          <a:ln w="28575">
            <a:solidFill>
              <a:schemeClr val="bg1">
                <a:lumMod val="95000"/>
              </a:schemeClr>
            </a:solidFill>
          </a:ln>
          <a:effectLst>
            <a:innerShdw blurRad="114300">
              <a:prstClr val="black">
                <a:alpha val="43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1800">
                <a:solidFill>
                  <a:schemeClr val="lt1"/>
                </a:solidFill>
                <a:latin typeface="+mn-lt"/>
              </a:defRPr>
            </a:lvl1pPr>
          </a:lstStyle>
          <a:p>
            <a:pPr marL="0" lvl="0" algn="ctr" defTabSz="914377"/>
            <a:endParaRPr lang="en-US"/>
          </a:p>
        </p:txBody>
      </p:sp>
      <p:sp>
        <p:nvSpPr>
          <p:cNvPr id="19" name="Picture Placeholder 16"/>
          <p:cNvSpPr>
            <a:spLocks noGrp="1"/>
          </p:cNvSpPr>
          <p:nvPr>
            <p:ph type="pic" sz="quarter" idx="16"/>
          </p:nvPr>
        </p:nvSpPr>
        <p:spPr>
          <a:xfrm>
            <a:off x="7960133" y="2398791"/>
            <a:ext cx="2666275" cy="2415329"/>
          </a:xfrm>
          <a:solidFill>
            <a:schemeClr val="bg1">
              <a:lumMod val="95000"/>
            </a:schemeClr>
          </a:solidFill>
          <a:ln w="28575">
            <a:solidFill>
              <a:schemeClr val="bg1">
                <a:lumMod val="95000"/>
              </a:schemeClr>
            </a:solidFill>
          </a:ln>
          <a:effectLst>
            <a:innerShdw blurRad="114300">
              <a:prstClr val="black">
                <a:alpha val="43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1800">
                <a:solidFill>
                  <a:schemeClr val="lt1"/>
                </a:solidFill>
                <a:latin typeface="+mn-lt"/>
              </a:defRPr>
            </a:lvl1pPr>
          </a:lstStyle>
          <a:p>
            <a:pPr marL="0" lvl="0" algn="ctr" defTabSz="914377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333586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642152" y="1964993"/>
            <a:ext cx="3994074" cy="3994074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70C3966A-647F-4612-BE76-F031A1652716}" type="datetimeFigureOut">
              <a:rPr lang="en-US" smtClean="0"/>
              <a:t>2/25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490251" y="6449369"/>
            <a:ext cx="415999" cy="24938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fld id="{DB1CA209-181F-46EF-9285-755E64EE8A8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72167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70C3966A-647F-4612-BE76-F031A1652716}" type="datetimeFigureOut">
              <a:rPr lang="en-US" smtClean="0"/>
              <a:t>2/25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1CA209-181F-46EF-9285-755E64EE8A8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077252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693738" y="1549400"/>
            <a:ext cx="5274576" cy="2578100"/>
          </a:xfrm>
          <a:solidFill>
            <a:schemeClr val="bg1">
              <a:lumMod val="7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18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pPr marL="0" lvl="0" algn="ctr" defTabSz="914377"/>
            <a:endParaRPr lang="en-US"/>
          </a:p>
        </p:txBody>
      </p:sp>
      <p:sp>
        <p:nvSpPr>
          <p:cNvPr id="9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6222076" y="1549400"/>
            <a:ext cx="5268175" cy="2578100"/>
          </a:xfrm>
          <a:solidFill>
            <a:schemeClr val="bg1">
              <a:lumMod val="7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18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pPr marL="0" lvl="0" algn="ctr" defTabSz="914377"/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70C3966A-647F-4612-BE76-F031A1652716}" type="datetimeFigureOut">
              <a:rPr lang="en-US" smtClean="0"/>
              <a:t>2/25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490251" y="6449369"/>
            <a:ext cx="415999" cy="24938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fld id="{DB1CA209-181F-46EF-9285-755E64EE8A8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492811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6355941" y="1865488"/>
            <a:ext cx="5359911" cy="3925711"/>
          </a:xfrm>
          <a:solidFill>
            <a:schemeClr val="bg1">
              <a:lumMod val="75000"/>
            </a:schemeClr>
          </a:solidFill>
          <a:ln w="571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1800"/>
            </a:lvl1pPr>
          </a:lstStyle>
          <a:p>
            <a:pPr marL="0" lvl="0" algn="ctr" defTabSz="914377"/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70C3966A-647F-4612-BE76-F031A1652716}" type="datetimeFigureOut">
              <a:rPr lang="en-US" smtClean="0"/>
              <a:t>2/25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490251" y="6449369"/>
            <a:ext cx="415999" cy="24938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fld id="{DB1CA209-181F-46EF-9285-755E64EE8A8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409482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70C3966A-647F-4612-BE76-F031A1652716}" type="datetimeFigureOut">
              <a:rPr lang="en-US" smtClean="0"/>
              <a:t>2/25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490251" y="6449369"/>
            <a:ext cx="415999" cy="24938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fld id="{DB1CA209-181F-46EF-9285-755E64EE8A8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0"/>
            <a:ext cx="12192000" cy="210457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262775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12192000" cy="210457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1036963" y="1979837"/>
            <a:ext cx="2642049" cy="1658346"/>
          </a:xfrm>
        </p:spPr>
        <p:txBody>
          <a:bodyPr/>
          <a:lstStyle/>
          <a:p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70C3966A-647F-4612-BE76-F031A1652716}" type="datetimeFigureOut">
              <a:rPr lang="en-US" smtClean="0"/>
              <a:t>2/25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490251" y="6449369"/>
            <a:ext cx="415999" cy="24938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fld id="{DB1CA209-181F-46EF-9285-755E64EE8A8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422652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70C3966A-647F-4612-BE76-F031A1652716}" type="datetimeFigureOut">
              <a:rPr lang="en-US" smtClean="0"/>
              <a:t>2/25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490251" y="6449369"/>
            <a:ext cx="415999" cy="24938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fld id="{DB1CA209-181F-46EF-9285-755E64EE8A8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268306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70C3966A-647F-4612-BE76-F031A1652716}" type="datetimeFigureOut">
              <a:rPr lang="en-US" smtClean="0"/>
              <a:t>2/25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490251" y="6449369"/>
            <a:ext cx="415999" cy="24938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fld id="{DB1CA209-181F-46EF-9285-755E64EE8A8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0"/>
            <a:ext cx="12192000" cy="210457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 userDrawn="1"/>
        </p:nvSpPr>
        <p:spPr>
          <a:xfrm flipV="1"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173533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4"/>
          </p:nvPr>
        </p:nvSpPr>
        <p:spPr>
          <a:xfrm>
            <a:off x="7505700" y="2268920"/>
            <a:ext cx="3479800" cy="2151469"/>
          </a:xfrm>
        </p:spPr>
        <p:txBody>
          <a:bodyPr/>
          <a:lstStyle/>
          <a:p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70C3966A-647F-4612-BE76-F031A1652716}" type="datetimeFigureOut">
              <a:rPr lang="en-US" smtClean="0"/>
              <a:t>2/25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490251" y="6449369"/>
            <a:ext cx="415999" cy="24938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fld id="{DB1CA209-181F-46EF-9285-755E64EE8A8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382673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12192000" cy="210457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108700" cy="6858000"/>
          </a:xfrm>
        </p:spPr>
        <p:txBody>
          <a:bodyPr/>
          <a:lstStyle/>
          <a:p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70C3966A-647F-4612-BE76-F031A1652716}" type="datetimeFigureOut">
              <a:rPr lang="en-US" smtClean="0"/>
              <a:t>2/25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490251" y="6449369"/>
            <a:ext cx="415999" cy="24938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fld id="{DB1CA209-181F-46EF-9285-755E64EE8A8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514481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12192000" cy="210457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4865077" cy="6858000"/>
          </a:xfrm>
        </p:spPr>
        <p:txBody>
          <a:bodyPr/>
          <a:lstStyle/>
          <a:p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70C3966A-647F-4612-BE76-F031A1652716}" type="datetimeFigureOut">
              <a:rPr lang="en-US" smtClean="0"/>
              <a:t>2/25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490251" y="6449369"/>
            <a:ext cx="415999" cy="24938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fld id="{DB1CA209-181F-46EF-9285-755E64EE8A8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360088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70C3966A-647F-4612-BE76-F031A1652716}" type="datetimeFigureOut">
              <a:rPr lang="en-US" smtClean="0"/>
              <a:t>2/25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DB1CA209-181F-46EF-9285-755E64EE8A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731101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itel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70C3966A-647F-4612-BE76-F031A1652716}" type="datetimeFigureOut">
              <a:rPr lang="en-US" smtClean="0"/>
              <a:t>2/25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490251" y="6449369"/>
            <a:ext cx="415999" cy="24938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fld id="{DB1CA209-181F-46EF-9285-755E64EE8A8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504067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Picture Placeholder 25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2438400" cy="2271713"/>
          </a:xfrm>
        </p:spPr>
        <p:txBody>
          <a:bodyPr/>
          <a:lstStyle/>
          <a:p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70C3966A-647F-4612-BE76-F031A1652716}" type="datetimeFigureOut">
              <a:rPr lang="en-US" smtClean="0"/>
              <a:t>2/25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DB1CA209-181F-46EF-9285-755E64EE8A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7" name="Picture Placeholder 25"/>
          <p:cNvSpPr>
            <a:spLocks noGrp="1"/>
          </p:cNvSpPr>
          <p:nvPr>
            <p:ph type="pic" sz="quarter" idx="14"/>
          </p:nvPr>
        </p:nvSpPr>
        <p:spPr>
          <a:xfrm>
            <a:off x="2438400" y="0"/>
            <a:ext cx="2438400" cy="2271713"/>
          </a:xfrm>
        </p:spPr>
        <p:txBody>
          <a:bodyPr/>
          <a:lstStyle/>
          <a:p>
            <a:endParaRPr lang="en-US"/>
          </a:p>
        </p:txBody>
      </p:sp>
      <p:sp>
        <p:nvSpPr>
          <p:cNvPr id="28" name="Picture Placeholder 25"/>
          <p:cNvSpPr>
            <a:spLocks noGrp="1"/>
          </p:cNvSpPr>
          <p:nvPr>
            <p:ph type="pic" sz="quarter" idx="15"/>
          </p:nvPr>
        </p:nvSpPr>
        <p:spPr>
          <a:xfrm>
            <a:off x="4876800" y="0"/>
            <a:ext cx="2438400" cy="2271713"/>
          </a:xfrm>
        </p:spPr>
        <p:txBody>
          <a:bodyPr/>
          <a:lstStyle/>
          <a:p>
            <a:endParaRPr lang="en-US"/>
          </a:p>
        </p:txBody>
      </p:sp>
      <p:sp>
        <p:nvSpPr>
          <p:cNvPr id="29" name="Picture Placeholder 25"/>
          <p:cNvSpPr>
            <a:spLocks noGrp="1"/>
          </p:cNvSpPr>
          <p:nvPr>
            <p:ph type="pic" sz="quarter" idx="16"/>
          </p:nvPr>
        </p:nvSpPr>
        <p:spPr>
          <a:xfrm>
            <a:off x="7315199" y="0"/>
            <a:ext cx="2438400" cy="2271713"/>
          </a:xfrm>
        </p:spPr>
        <p:txBody>
          <a:bodyPr/>
          <a:lstStyle/>
          <a:p>
            <a:endParaRPr lang="en-US"/>
          </a:p>
        </p:txBody>
      </p:sp>
      <p:sp>
        <p:nvSpPr>
          <p:cNvPr id="30" name="Picture Placeholder 25"/>
          <p:cNvSpPr>
            <a:spLocks noGrp="1"/>
          </p:cNvSpPr>
          <p:nvPr>
            <p:ph type="pic" sz="quarter" idx="17"/>
          </p:nvPr>
        </p:nvSpPr>
        <p:spPr>
          <a:xfrm>
            <a:off x="9753598" y="0"/>
            <a:ext cx="2438400" cy="2271713"/>
          </a:xfrm>
        </p:spPr>
        <p:txBody>
          <a:bodyPr/>
          <a:lstStyle/>
          <a:p>
            <a:endParaRPr lang="en-US"/>
          </a:p>
        </p:txBody>
      </p:sp>
      <p:sp>
        <p:nvSpPr>
          <p:cNvPr id="31" name="Picture Placeholder 25"/>
          <p:cNvSpPr>
            <a:spLocks noGrp="1"/>
          </p:cNvSpPr>
          <p:nvPr>
            <p:ph type="pic" sz="quarter" idx="18"/>
          </p:nvPr>
        </p:nvSpPr>
        <p:spPr>
          <a:xfrm>
            <a:off x="0" y="2286070"/>
            <a:ext cx="2438400" cy="2271713"/>
          </a:xfrm>
        </p:spPr>
        <p:txBody>
          <a:bodyPr/>
          <a:lstStyle/>
          <a:p>
            <a:endParaRPr lang="en-US"/>
          </a:p>
        </p:txBody>
      </p:sp>
      <p:sp>
        <p:nvSpPr>
          <p:cNvPr id="32" name="Picture Placeholder 25"/>
          <p:cNvSpPr>
            <a:spLocks noGrp="1"/>
          </p:cNvSpPr>
          <p:nvPr>
            <p:ph type="pic" sz="quarter" idx="19"/>
          </p:nvPr>
        </p:nvSpPr>
        <p:spPr>
          <a:xfrm>
            <a:off x="2438400" y="2286070"/>
            <a:ext cx="2438400" cy="2271713"/>
          </a:xfrm>
        </p:spPr>
        <p:txBody>
          <a:bodyPr/>
          <a:lstStyle/>
          <a:p>
            <a:endParaRPr lang="en-US"/>
          </a:p>
        </p:txBody>
      </p:sp>
      <p:sp>
        <p:nvSpPr>
          <p:cNvPr id="33" name="Picture Placeholder 25"/>
          <p:cNvSpPr>
            <a:spLocks noGrp="1"/>
          </p:cNvSpPr>
          <p:nvPr>
            <p:ph type="pic" sz="quarter" idx="20"/>
          </p:nvPr>
        </p:nvSpPr>
        <p:spPr>
          <a:xfrm>
            <a:off x="4876800" y="2286070"/>
            <a:ext cx="2438400" cy="2271713"/>
          </a:xfrm>
        </p:spPr>
        <p:txBody>
          <a:bodyPr/>
          <a:lstStyle/>
          <a:p>
            <a:endParaRPr lang="en-US"/>
          </a:p>
        </p:txBody>
      </p:sp>
      <p:sp>
        <p:nvSpPr>
          <p:cNvPr id="34" name="Picture Placeholder 25"/>
          <p:cNvSpPr>
            <a:spLocks noGrp="1"/>
          </p:cNvSpPr>
          <p:nvPr>
            <p:ph type="pic" sz="quarter" idx="21"/>
          </p:nvPr>
        </p:nvSpPr>
        <p:spPr>
          <a:xfrm>
            <a:off x="7315199" y="2286070"/>
            <a:ext cx="2438400" cy="2271713"/>
          </a:xfrm>
        </p:spPr>
        <p:txBody>
          <a:bodyPr/>
          <a:lstStyle/>
          <a:p>
            <a:endParaRPr lang="en-US"/>
          </a:p>
        </p:txBody>
      </p:sp>
      <p:sp>
        <p:nvSpPr>
          <p:cNvPr id="35" name="Picture Placeholder 25"/>
          <p:cNvSpPr>
            <a:spLocks noGrp="1"/>
          </p:cNvSpPr>
          <p:nvPr>
            <p:ph type="pic" sz="quarter" idx="22"/>
          </p:nvPr>
        </p:nvSpPr>
        <p:spPr>
          <a:xfrm>
            <a:off x="9753598" y="2286070"/>
            <a:ext cx="2438400" cy="2271713"/>
          </a:xfrm>
        </p:spPr>
        <p:txBody>
          <a:bodyPr/>
          <a:lstStyle/>
          <a:p>
            <a:endParaRPr lang="en-US"/>
          </a:p>
        </p:txBody>
      </p:sp>
      <p:sp>
        <p:nvSpPr>
          <p:cNvPr id="36" name="Picture Placeholder 25"/>
          <p:cNvSpPr>
            <a:spLocks noGrp="1"/>
          </p:cNvSpPr>
          <p:nvPr>
            <p:ph type="pic" sz="quarter" idx="23"/>
          </p:nvPr>
        </p:nvSpPr>
        <p:spPr>
          <a:xfrm>
            <a:off x="0" y="4576310"/>
            <a:ext cx="2438400" cy="2271713"/>
          </a:xfrm>
        </p:spPr>
        <p:txBody>
          <a:bodyPr/>
          <a:lstStyle/>
          <a:p>
            <a:endParaRPr lang="en-US"/>
          </a:p>
        </p:txBody>
      </p:sp>
      <p:sp>
        <p:nvSpPr>
          <p:cNvPr id="37" name="Picture Placeholder 25"/>
          <p:cNvSpPr>
            <a:spLocks noGrp="1"/>
          </p:cNvSpPr>
          <p:nvPr>
            <p:ph type="pic" sz="quarter" idx="24"/>
          </p:nvPr>
        </p:nvSpPr>
        <p:spPr>
          <a:xfrm>
            <a:off x="2438400" y="4576310"/>
            <a:ext cx="2438400" cy="2271713"/>
          </a:xfrm>
        </p:spPr>
        <p:txBody>
          <a:bodyPr/>
          <a:lstStyle/>
          <a:p>
            <a:endParaRPr lang="en-US"/>
          </a:p>
        </p:txBody>
      </p:sp>
      <p:sp>
        <p:nvSpPr>
          <p:cNvPr id="38" name="Picture Placeholder 25"/>
          <p:cNvSpPr>
            <a:spLocks noGrp="1"/>
          </p:cNvSpPr>
          <p:nvPr>
            <p:ph type="pic" sz="quarter" idx="25"/>
          </p:nvPr>
        </p:nvSpPr>
        <p:spPr>
          <a:xfrm>
            <a:off x="4876800" y="4576310"/>
            <a:ext cx="2438400" cy="2271713"/>
          </a:xfrm>
        </p:spPr>
        <p:txBody>
          <a:bodyPr/>
          <a:lstStyle/>
          <a:p>
            <a:endParaRPr lang="en-US"/>
          </a:p>
        </p:txBody>
      </p:sp>
      <p:sp>
        <p:nvSpPr>
          <p:cNvPr id="39" name="Picture Placeholder 25"/>
          <p:cNvSpPr>
            <a:spLocks noGrp="1"/>
          </p:cNvSpPr>
          <p:nvPr>
            <p:ph type="pic" sz="quarter" idx="26"/>
          </p:nvPr>
        </p:nvSpPr>
        <p:spPr>
          <a:xfrm>
            <a:off x="7315199" y="4576310"/>
            <a:ext cx="2438400" cy="2271713"/>
          </a:xfrm>
        </p:spPr>
        <p:txBody>
          <a:bodyPr/>
          <a:lstStyle/>
          <a:p>
            <a:endParaRPr lang="en-US"/>
          </a:p>
        </p:txBody>
      </p:sp>
      <p:sp>
        <p:nvSpPr>
          <p:cNvPr id="40" name="Picture Placeholder 25"/>
          <p:cNvSpPr>
            <a:spLocks noGrp="1"/>
          </p:cNvSpPr>
          <p:nvPr>
            <p:ph type="pic" sz="quarter" idx="27"/>
          </p:nvPr>
        </p:nvSpPr>
        <p:spPr>
          <a:xfrm>
            <a:off x="9753598" y="4576310"/>
            <a:ext cx="2438400" cy="2271713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016877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12192000" cy="210457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70C3966A-647F-4612-BE76-F031A1652716}" type="datetimeFigureOut">
              <a:rPr lang="en-US" smtClean="0"/>
              <a:t>2/25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490251" y="6449369"/>
            <a:ext cx="415999" cy="24938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fld id="{DB1CA209-181F-46EF-9285-755E64EE8A8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Picture Placeholder 25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2438400" cy="2271713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Picture Placeholder 25"/>
          <p:cNvSpPr>
            <a:spLocks noGrp="1"/>
          </p:cNvSpPr>
          <p:nvPr>
            <p:ph type="pic" sz="quarter" idx="14"/>
          </p:nvPr>
        </p:nvSpPr>
        <p:spPr>
          <a:xfrm>
            <a:off x="2438400" y="0"/>
            <a:ext cx="2438400" cy="2271713"/>
          </a:xfrm>
        </p:spPr>
        <p:txBody>
          <a:bodyPr/>
          <a:lstStyle/>
          <a:p>
            <a:endParaRPr lang="en-US"/>
          </a:p>
        </p:txBody>
      </p:sp>
      <p:sp>
        <p:nvSpPr>
          <p:cNvPr id="12" name="Picture Placeholder 25"/>
          <p:cNvSpPr>
            <a:spLocks noGrp="1"/>
          </p:cNvSpPr>
          <p:nvPr>
            <p:ph type="pic" sz="quarter" idx="15"/>
          </p:nvPr>
        </p:nvSpPr>
        <p:spPr>
          <a:xfrm>
            <a:off x="4876800" y="0"/>
            <a:ext cx="2438400" cy="2271713"/>
          </a:xfrm>
        </p:spPr>
        <p:txBody>
          <a:bodyPr/>
          <a:lstStyle/>
          <a:p>
            <a:endParaRPr lang="en-US"/>
          </a:p>
        </p:txBody>
      </p:sp>
      <p:sp>
        <p:nvSpPr>
          <p:cNvPr id="13" name="Picture Placeholder 25"/>
          <p:cNvSpPr>
            <a:spLocks noGrp="1"/>
          </p:cNvSpPr>
          <p:nvPr>
            <p:ph type="pic" sz="quarter" idx="16"/>
          </p:nvPr>
        </p:nvSpPr>
        <p:spPr>
          <a:xfrm>
            <a:off x="7315199" y="0"/>
            <a:ext cx="2438400" cy="2271713"/>
          </a:xfrm>
        </p:spPr>
        <p:txBody>
          <a:bodyPr/>
          <a:lstStyle/>
          <a:p>
            <a:endParaRPr lang="en-US"/>
          </a:p>
        </p:txBody>
      </p:sp>
      <p:sp>
        <p:nvSpPr>
          <p:cNvPr id="14" name="Picture Placeholder 25"/>
          <p:cNvSpPr>
            <a:spLocks noGrp="1"/>
          </p:cNvSpPr>
          <p:nvPr>
            <p:ph type="pic" sz="quarter" idx="17"/>
          </p:nvPr>
        </p:nvSpPr>
        <p:spPr>
          <a:xfrm>
            <a:off x="9753598" y="0"/>
            <a:ext cx="2438400" cy="2271713"/>
          </a:xfrm>
        </p:spPr>
        <p:txBody>
          <a:bodyPr/>
          <a:lstStyle/>
          <a:p>
            <a:endParaRPr lang="en-US"/>
          </a:p>
        </p:txBody>
      </p:sp>
      <p:sp>
        <p:nvSpPr>
          <p:cNvPr id="15" name="Picture Placeholder 25"/>
          <p:cNvSpPr>
            <a:spLocks noGrp="1"/>
          </p:cNvSpPr>
          <p:nvPr>
            <p:ph type="pic" sz="quarter" idx="18"/>
          </p:nvPr>
        </p:nvSpPr>
        <p:spPr>
          <a:xfrm>
            <a:off x="0" y="2286070"/>
            <a:ext cx="2438400" cy="2271713"/>
          </a:xfrm>
        </p:spPr>
        <p:txBody>
          <a:bodyPr/>
          <a:lstStyle/>
          <a:p>
            <a:endParaRPr lang="en-US"/>
          </a:p>
        </p:txBody>
      </p:sp>
      <p:sp>
        <p:nvSpPr>
          <p:cNvPr id="16" name="Picture Placeholder 25"/>
          <p:cNvSpPr>
            <a:spLocks noGrp="1"/>
          </p:cNvSpPr>
          <p:nvPr>
            <p:ph type="pic" sz="quarter" idx="19"/>
          </p:nvPr>
        </p:nvSpPr>
        <p:spPr>
          <a:xfrm>
            <a:off x="2438400" y="2286070"/>
            <a:ext cx="2438400" cy="2271713"/>
          </a:xfrm>
        </p:spPr>
        <p:txBody>
          <a:bodyPr/>
          <a:lstStyle/>
          <a:p>
            <a:endParaRPr lang="en-US"/>
          </a:p>
        </p:txBody>
      </p:sp>
      <p:sp>
        <p:nvSpPr>
          <p:cNvPr id="17" name="Picture Placeholder 25"/>
          <p:cNvSpPr>
            <a:spLocks noGrp="1"/>
          </p:cNvSpPr>
          <p:nvPr>
            <p:ph type="pic" sz="quarter" idx="20"/>
          </p:nvPr>
        </p:nvSpPr>
        <p:spPr>
          <a:xfrm>
            <a:off x="4876800" y="2286070"/>
            <a:ext cx="2438400" cy="2271713"/>
          </a:xfrm>
        </p:spPr>
        <p:txBody>
          <a:bodyPr/>
          <a:lstStyle/>
          <a:p>
            <a:endParaRPr lang="en-US"/>
          </a:p>
        </p:txBody>
      </p:sp>
      <p:sp>
        <p:nvSpPr>
          <p:cNvPr id="18" name="Picture Placeholder 25"/>
          <p:cNvSpPr>
            <a:spLocks noGrp="1"/>
          </p:cNvSpPr>
          <p:nvPr>
            <p:ph type="pic" sz="quarter" idx="21"/>
          </p:nvPr>
        </p:nvSpPr>
        <p:spPr>
          <a:xfrm>
            <a:off x="7315199" y="2286070"/>
            <a:ext cx="2438400" cy="2271713"/>
          </a:xfrm>
        </p:spPr>
        <p:txBody>
          <a:bodyPr/>
          <a:lstStyle/>
          <a:p>
            <a:endParaRPr lang="en-US"/>
          </a:p>
        </p:txBody>
      </p:sp>
      <p:sp>
        <p:nvSpPr>
          <p:cNvPr id="19" name="Picture Placeholder 25"/>
          <p:cNvSpPr>
            <a:spLocks noGrp="1"/>
          </p:cNvSpPr>
          <p:nvPr>
            <p:ph type="pic" sz="quarter" idx="22"/>
          </p:nvPr>
        </p:nvSpPr>
        <p:spPr>
          <a:xfrm>
            <a:off x="9753598" y="2286070"/>
            <a:ext cx="2438400" cy="2271713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75162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70C3966A-647F-4612-BE76-F031A1652716}" type="datetimeFigureOut">
              <a:rPr lang="en-US" smtClean="0"/>
              <a:t>2/25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DB1CA209-181F-46EF-9285-755E64EE8A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700946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70C3966A-647F-4612-BE76-F031A1652716}" type="datetimeFigureOut">
              <a:rPr lang="en-US" smtClean="0"/>
              <a:t>2/25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DB1CA209-181F-46EF-9285-755E64EE8A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329162" y="311728"/>
            <a:ext cx="11533676" cy="623454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512097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446146" y="1129455"/>
            <a:ext cx="7002001" cy="4599090"/>
          </a:xfrm>
          <a:solidFill>
            <a:schemeClr val="bg1">
              <a:lumMod val="95000"/>
            </a:schemeClr>
          </a:solidFill>
          <a:ln w="25400" cap="flat">
            <a:noFill/>
            <a:prstDash val="solid"/>
            <a:miter lim="800000"/>
            <a:headEnd type="none" w="med" len="med"/>
            <a:tailEnd type="none" w="med" len="med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  <a:reflection blurRad="6350" stA="27000" endPos="30000" dir="5400000" sy="-100000" algn="bl" rotWithShape="0"/>
          </a:effectLst>
        </p:spPr>
        <p:txBody>
          <a:bodyPr lIns="0" tIns="0" rIns="0" bIns="0"/>
          <a:lstStyle>
            <a:lvl1pPr>
              <a:defRPr lang="en-US" sz="1800">
                <a:solidFill>
                  <a:schemeClr val="tx1"/>
                </a:solidFill>
                <a:latin typeface="+mn-lt"/>
              </a:defRPr>
            </a:lvl1pPr>
          </a:lstStyle>
          <a:p>
            <a:pPr marL="0" lvl="0" defTabSz="914377"/>
            <a:endParaRPr lang="en-US" dirty="0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5"/>
          </p:nvPr>
        </p:nvSpPr>
        <p:spPr>
          <a:xfrm>
            <a:off x="741363" y="2382838"/>
            <a:ext cx="3197225" cy="1750000"/>
          </a:xfrm>
        </p:spPr>
        <p:txBody>
          <a:bodyPr/>
          <a:lstStyle/>
          <a:p>
            <a:endParaRPr lang="en-US"/>
          </a:p>
        </p:txBody>
      </p:sp>
      <p:sp>
        <p:nvSpPr>
          <p:cNvPr id="14" name="Picture Placeholder 11"/>
          <p:cNvSpPr>
            <a:spLocks noGrp="1"/>
          </p:cNvSpPr>
          <p:nvPr>
            <p:ph type="pic" sz="quarter" idx="16"/>
          </p:nvPr>
        </p:nvSpPr>
        <p:spPr>
          <a:xfrm>
            <a:off x="3975721" y="2382838"/>
            <a:ext cx="3197225" cy="1750000"/>
          </a:xfrm>
        </p:spPr>
        <p:txBody>
          <a:bodyPr/>
          <a:lstStyle/>
          <a:p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70C3966A-647F-4612-BE76-F031A1652716}" type="datetimeFigureOut">
              <a:rPr lang="en-US" smtClean="0"/>
              <a:t>2/25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DB1CA209-181F-46EF-9285-755E64EE8A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099867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70C3966A-647F-4612-BE76-F031A1652716}" type="datetimeFigureOut">
              <a:rPr lang="en-US" smtClean="0"/>
              <a:t>2/25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DB1CA209-181F-46EF-9285-755E64EE8A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/>
          </a:p>
        </p:txBody>
      </p:sp>
      <p:sp>
        <p:nvSpPr>
          <p:cNvPr id="7" name="Rectangle 6"/>
          <p:cNvSpPr/>
          <p:nvPr userDrawn="1"/>
        </p:nvSpPr>
        <p:spPr>
          <a:xfrm>
            <a:off x="3345700" y="2511063"/>
            <a:ext cx="5179502" cy="2913579"/>
          </a:xfrm>
          <a:prstGeom prst="rect">
            <a:avLst/>
          </a:prstGeom>
          <a:blipFill dpi="0" rotWithShape="1">
            <a:blip r:embed="rId2"/>
            <a:srcRect/>
            <a:tile tx="0" ty="0" sx="35000" sy="35000" flip="none" algn="b"/>
          </a:blipFill>
          <a:ln>
            <a:noFill/>
          </a:ln>
          <a:effectLst>
            <a:innerShdw blurRad="1143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3345700" y="2511063"/>
            <a:ext cx="5179502" cy="2911943"/>
          </a:xfrm>
          <a:solidFill>
            <a:schemeClr val="bg1">
              <a:lumMod val="95000"/>
            </a:schemeClr>
          </a:solidFill>
          <a:ln>
            <a:noFill/>
          </a:ln>
          <a:effectLst>
            <a:innerShdw blurRad="1143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1800" dirty="0">
                <a:solidFill>
                  <a:schemeClr val="lt1"/>
                </a:solidFill>
                <a:latin typeface="+mn-lt"/>
              </a:defRPr>
            </a:lvl1pPr>
          </a:lstStyle>
          <a:p>
            <a:pPr marL="0" lvl="0" algn="ctr" defTabSz="914377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235579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3897452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2478849" y="1403921"/>
            <a:ext cx="2090801" cy="3713303"/>
          </a:xfrm>
          <a:solidFill>
            <a:schemeClr val="bg1">
              <a:lumMod val="95000"/>
            </a:schemeClr>
          </a:solidFill>
          <a:ln>
            <a:noFill/>
          </a:ln>
          <a:effectLst>
            <a:innerShdw blurRad="1143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1800" dirty="0">
                <a:solidFill>
                  <a:schemeClr val="lt1"/>
                </a:solidFill>
                <a:latin typeface="+mn-lt"/>
              </a:defRPr>
            </a:lvl1pPr>
          </a:lstStyle>
          <a:p>
            <a:pPr marL="0" lvl="0" algn="ctr" defTabSz="914377"/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70C3966A-647F-4612-BE76-F031A1652716}" type="datetimeFigureOut">
              <a:rPr lang="en-US" smtClean="0"/>
              <a:t>2/25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DB1CA209-181F-46EF-9285-755E64EE8A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066684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3897452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1575119" y="1537421"/>
            <a:ext cx="4431482" cy="2911943"/>
          </a:xfrm>
          <a:solidFill>
            <a:schemeClr val="bg1">
              <a:lumMod val="95000"/>
            </a:schemeClr>
          </a:solidFill>
          <a:ln>
            <a:noFill/>
          </a:ln>
          <a:effectLst>
            <a:innerShdw blurRad="1143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1800" dirty="0">
                <a:solidFill>
                  <a:schemeClr val="lt1"/>
                </a:solidFill>
                <a:latin typeface="+mn-lt"/>
              </a:defRPr>
            </a:lvl1pPr>
          </a:lstStyle>
          <a:p>
            <a:pPr marL="0" lvl="0" algn="ctr" defTabSz="914377"/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70C3966A-647F-4612-BE76-F031A1652716}" type="datetimeFigureOut">
              <a:rPr lang="en-US" smtClean="0"/>
              <a:t>2/25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DB1CA209-181F-46EF-9285-755E64EE8A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795099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3922364" y="2399426"/>
            <a:ext cx="1482906" cy="2578822"/>
          </a:xfrm>
          <a:solidFill>
            <a:schemeClr val="bg1">
              <a:lumMod val="95000"/>
            </a:schemeClr>
          </a:solidFill>
          <a:ln>
            <a:noFill/>
          </a:ln>
          <a:effectLst>
            <a:innerShdw blurRad="1143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1800" dirty="0">
                <a:solidFill>
                  <a:schemeClr val="lt1"/>
                </a:solidFill>
                <a:latin typeface="+mn-lt"/>
              </a:defRPr>
            </a:lvl1pPr>
          </a:lstStyle>
          <a:p>
            <a:pPr marL="0" lvl="0" algn="ctr" defTabSz="914377"/>
            <a:endParaRPr lang="en-US" dirty="0"/>
          </a:p>
        </p:txBody>
      </p:sp>
      <p:sp>
        <p:nvSpPr>
          <p:cNvPr id="12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6809231" y="2399426"/>
            <a:ext cx="1482906" cy="2578822"/>
          </a:xfrm>
          <a:solidFill>
            <a:schemeClr val="bg1">
              <a:lumMod val="95000"/>
            </a:schemeClr>
          </a:solidFill>
          <a:ln>
            <a:noFill/>
          </a:ln>
          <a:effectLst>
            <a:innerShdw blurRad="1143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1800" dirty="0">
                <a:solidFill>
                  <a:schemeClr val="lt1"/>
                </a:solidFill>
                <a:latin typeface="+mn-lt"/>
              </a:defRPr>
            </a:lvl1pPr>
          </a:lstStyle>
          <a:p>
            <a:pPr marL="0" lvl="0" algn="ctr" defTabSz="914377"/>
            <a:endParaRPr lang="en-US" dirty="0"/>
          </a:p>
        </p:txBody>
      </p:sp>
      <p:sp>
        <p:nvSpPr>
          <p:cNvPr id="14" name="Picture Placeholder 9"/>
          <p:cNvSpPr>
            <a:spLocks noGrp="1"/>
          </p:cNvSpPr>
          <p:nvPr>
            <p:ph type="pic" sz="quarter" idx="16"/>
          </p:nvPr>
        </p:nvSpPr>
        <p:spPr>
          <a:xfrm>
            <a:off x="5354546" y="2296158"/>
            <a:ext cx="1729987" cy="3065191"/>
          </a:xfrm>
          <a:solidFill>
            <a:schemeClr val="bg1">
              <a:lumMod val="95000"/>
            </a:schemeClr>
          </a:solidFill>
          <a:ln>
            <a:noFill/>
          </a:ln>
          <a:effectLst>
            <a:innerShdw blurRad="1143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1800" dirty="0">
                <a:solidFill>
                  <a:schemeClr val="lt1"/>
                </a:solidFill>
                <a:latin typeface="+mn-lt"/>
              </a:defRPr>
            </a:lvl1pPr>
          </a:lstStyle>
          <a:p>
            <a:pPr marL="0" lvl="0" algn="ctr" defTabSz="914377"/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70C3966A-647F-4612-BE76-F031A1652716}" type="datetimeFigureOut">
              <a:rPr lang="en-US" smtClean="0"/>
              <a:t>2/25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DB1CA209-181F-46EF-9285-755E64EE8A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376435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0" y="-1"/>
            <a:ext cx="12192000" cy="4557487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734355" y="1399066"/>
            <a:ext cx="5654847" cy="3196522"/>
          </a:xfrm>
          <a:solidFill>
            <a:schemeClr val="bg1">
              <a:lumMod val="95000"/>
            </a:schemeClr>
          </a:solidFill>
          <a:ln>
            <a:noFill/>
          </a:ln>
          <a:effectLst>
            <a:innerShdw blurRad="1143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1800" dirty="0">
                <a:solidFill>
                  <a:schemeClr val="lt1"/>
                </a:solidFill>
                <a:latin typeface="+mn-lt"/>
              </a:defRPr>
            </a:lvl1pPr>
          </a:lstStyle>
          <a:p>
            <a:pPr marL="0" lvl="0" algn="ctr" defTabSz="914377"/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70C3966A-647F-4612-BE76-F031A1652716}" type="datetimeFigureOut">
              <a:rPr lang="en-US" smtClean="0"/>
              <a:t>2/25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DB1CA209-181F-46EF-9285-755E64EE8A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56107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el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584200" y="1770063"/>
            <a:ext cx="5089525" cy="4356100"/>
          </a:xfrm>
        </p:spPr>
        <p:txBody>
          <a:bodyPr/>
          <a:lstStyle/>
          <a:p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70C3966A-647F-4612-BE76-F031A1652716}" type="datetimeFigureOut">
              <a:rPr lang="en-US" smtClean="0"/>
              <a:t>2/25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490251" y="6449369"/>
            <a:ext cx="415999" cy="24938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fld id="{DB1CA209-181F-46EF-9285-755E64EE8A8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740302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0" y="-1"/>
            <a:ext cx="12192000" cy="5181601"/>
          </a:xfrm>
        </p:spPr>
        <p:txBody>
          <a:bodyPr/>
          <a:lstStyle/>
          <a:p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70C3966A-647F-4612-BE76-F031A1652716}" type="datetimeFigureOut">
              <a:rPr lang="en-US" smtClean="0"/>
              <a:t>2/25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DB1CA209-181F-46EF-9285-755E64EE8A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775940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0" y="1840926"/>
            <a:ext cx="12192000" cy="3881572"/>
          </a:xfrm>
        </p:spPr>
        <p:txBody>
          <a:bodyPr/>
          <a:lstStyle/>
          <a:p>
            <a:endParaRPr lang="en-US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1192983" y="2399424"/>
            <a:ext cx="1482905" cy="2578822"/>
          </a:xfrm>
          <a:solidFill>
            <a:schemeClr val="bg1">
              <a:lumMod val="95000"/>
            </a:schemeClr>
          </a:solidFill>
          <a:ln>
            <a:noFill/>
          </a:ln>
          <a:effectLst>
            <a:innerShdw blurRad="1143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1800" dirty="0"/>
            </a:lvl1pPr>
          </a:lstStyle>
          <a:p>
            <a:pPr marL="0" lvl="0" algn="ctr" defTabSz="914377"/>
            <a:endParaRPr lang="en-US" dirty="0"/>
          </a:p>
        </p:txBody>
      </p:sp>
      <p:sp>
        <p:nvSpPr>
          <p:cNvPr id="11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2622678" y="2296158"/>
            <a:ext cx="1732477" cy="3065191"/>
          </a:xfrm>
          <a:solidFill>
            <a:schemeClr val="bg1">
              <a:lumMod val="95000"/>
            </a:schemeClr>
          </a:solidFill>
          <a:ln>
            <a:noFill/>
          </a:ln>
          <a:effectLst>
            <a:innerShdw blurRad="1143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rmAutofit/>
          </a:bodyPr>
          <a:lstStyle>
            <a:lvl1pPr>
              <a:defRPr lang="en-US" sz="1800" dirty="0"/>
            </a:lvl1pPr>
          </a:lstStyle>
          <a:p>
            <a:pPr marL="0" lvl="0" algn="ctr" defTabSz="914377"/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70C3966A-647F-4612-BE76-F031A1652716}" type="datetimeFigureOut">
              <a:rPr lang="en-US" smtClean="0"/>
              <a:t>2/25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DB1CA209-181F-46EF-9285-755E64EE8A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600828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5075021" y="1219200"/>
            <a:ext cx="2168958" cy="2168958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innerShdw blurRad="114300">
              <a:prstClr val="black">
                <a:alpha val="6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1800" dirty="0">
                <a:solidFill>
                  <a:schemeClr val="tx1"/>
                </a:solidFill>
                <a:latin typeface="+mn-lt"/>
              </a:defRPr>
            </a:lvl1pPr>
          </a:lstStyle>
          <a:p>
            <a:pPr marL="0" lvl="0" algn="ctr" defTabSz="914377"/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70C3966A-647F-4612-BE76-F031A1652716}" type="datetimeFigureOut">
              <a:rPr lang="en-US" smtClean="0"/>
              <a:t>2/25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DB1CA209-181F-46EF-9285-755E64EE8A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312787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1324174" y="712911"/>
            <a:ext cx="1971780" cy="197178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>
            <a:innerShdw blurRad="114300">
              <a:prstClr val="black">
                <a:alpha val="6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1800" dirty="0">
                <a:solidFill>
                  <a:schemeClr val="tx1"/>
                </a:solidFill>
                <a:latin typeface="+mn-lt"/>
              </a:defRPr>
            </a:lvl1pPr>
          </a:lstStyle>
          <a:p>
            <a:pPr marL="0" lvl="0" algn="ctr" defTabSz="914377"/>
            <a:endParaRPr lang="en-US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70C3966A-647F-4612-BE76-F031A1652716}" type="datetimeFigureOut">
              <a:rPr lang="en-US" smtClean="0"/>
              <a:t>2/25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fld id="{DB1CA209-181F-46EF-9285-755E64EE8A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549022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11528983" y="273543"/>
            <a:ext cx="461914" cy="36764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5" name="Rectangle 4"/>
          <p:cNvSpPr/>
          <p:nvPr userDrawn="1"/>
        </p:nvSpPr>
        <p:spPr>
          <a:xfrm>
            <a:off x="11528983" y="641189"/>
            <a:ext cx="461914" cy="45719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7" name="TextBox 6"/>
          <p:cNvSpPr txBox="1"/>
          <p:nvPr userDrawn="1"/>
        </p:nvSpPr>
        <p:spPr>
          <a:xfrm>
            <a:off x="11560205" y="305131"/>
            <a:ext cx="3994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fld id="{260E2A6B-A809-4840-BF14-8648BC0BDF87}" type="slidenum">
              <a:rPr lang="id-ID" sz="1400" b="1" smtClean="0">
                <a:solidFill>
                  <a:schemeClr val="bg1"/>
                </a:solidFill>
              </a:rPr>
              <a:pPr algn="ctr"/>
              <a:t>‹#›</a:t>
            </a:fld>
            <a:endParaRPr lang="id-ID" sz="1400" dirty="0">
              <a:solidFill>
                <a:schemeClr val="bg1"/>
              </a:solidFill>
            </a:endParaRPr>
          </a:p>
        </p:txBody>
      </p:sp>
      <p:grpSp>
        <p:nvGrpSpPr>
          <p:cNvPr id="6" name="Group 5"/>
          <p:cNvGrpSpPr/>
          <p:nvPr userDrawn="1"/>
        </p:nvGrpSpPr>
        <p:grpSpPr>
          <a:xfrm>
            <a:off x="347419" y="6409324"/>
            <a:ext cx="224082" cy="221156"/>
            <a:chOff x="4328868" y="5502988"/>
            <a:chExt cx="500307" cy="493774"/>
          </a:xfrm>
        </p:grpSpPr>
        <p:sp>
          <p:nvSpPr>
            <p:cNvPr id="8" name="Freeform 7">
              <a:hlinkClick r:id="" action="ppaction://hlinkshowjump?jump=previousslide"/>
            </p:cNvPr>
            <p:cNvSpPr>
              <a:spLocks/>
            </p:cNvSpPr>
            <p:nvPr userDrawn="1"/>
          </p:nvSpPr>
          <p:spPr bwMode="auto">
            <a:xfrm>
              <a:off x="4520555" y="5649754"/>
              <a:ext cx="116933" cy="200242"/>
            </a:xfrm>
            <a:custGeom>
              <a:avLst/>
              <a:gdLst>
                <a:gd name="T0" fmla="*/ 417 w 425"/>
                <a:gd name="T1" fmla="*/ 77 h 728"/>
                <a:gd name="T2" fmla="*/ 131 w 425"/>
                <a:gd name="T3" fmla="*/ 364 h 728"/>
                <a:gd name="T4" fmla="*/ 417 w 425"/>
                <a:gd name="T5" fmla="*/ 650 h 728"/>
                <a:gd name="T6" fmla="*/ 425 w 425"/>
                <a:gd name="T7" fmla="*/ 667 h 728"/>
                <a:gd name="T8" fmla="*/ 417 w 425"/>
                <a:gd name="T9" fmla="*/ 684 h 728"/>
                <a:gd name="T10" fmla="*/ 381 w 425"/>
                <a:gd name="T11" fmla="*/ 720 h 728"/>
                <a:gd name="T12" fmla="*/ 364 w 425"/>
                <a:gd name="T13" fmla="*/ 728 h 728"/>
                <a:gd name="T14" fmla="*/ 347 w 425"/>
                <a:gd name="T15" fmla="*/ 720 h 728"/>
                <a:gd name="T16" fmla="*/ 8 w 425"/>
                <a:gd name="T17" fmla="*/ 381 h 728"/>
                <a:gd name="T18" fmla="*/ 0 w 425"/>
                <a:gd name="T19" fmla="*/ 364 h 728"/>
                <a:gd name="T20" fmla="*/ 8 w 425"/>
                <a:gd name="T21" fmla="*/ 347 h 728"/>
                <a:gd name="T22" fmla="*/ 347 w 425"/>
                <a:gd name="T23" fmla="*/ 7 h 728"/>
                <a:gd name="T24" fmla="*/ 364 w 425"/>
                <a:gd name="T25" fmla="*/ 0 h 728"/>
                <a:gd name="T26" fmla="*/ 381 w 425"/>
                <a:gd name="T27" fmla="*/ 7 h 728"/>
                <a:gd name="T28" fmla="*/ 417 w 425"/>
                <a:gd name="T29" fmla="*/ 44 h 728"/>
                <a:gd name="T30" fmla="*/ 425 w 425"/>
                <a:gd name="T31" fmla="*/ 60 h 728"/>
                <a:gd name="T32" fmla="*/ 417 w 425"/>
                <a:gd name="T33" fmla="*/ 77 h 7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25" h="728">
                  <a:moveTo>
                    <a:pt x="417" y="77"/>
                  </a:moveTo>
                  <a:cubicBezTo>
                    <a:pt x="131" y="364"/>
                    <a:pt x="131" y="364"/>
                    <a:pt x="131" y="364"/>
                  </a:cubicBezTo>
                  <a:cubicBezTo>
                    <a:pt x="417" y="650"/>
                    <a:pt x="417" y="650"/>
                    <a:pt x="417" y="650"/>
                  </a:cubicBezTo>
                  <a:cubicBezTo>
                    <a:pt x="422" y="655"/>
                    <a:pt x="425" y="661"/>
                    <a:pt x="425" y="667"/>
                  </a:cubicBezTo>
                  <a:cubicBezTo>
                    <a:pt x="425" y="673"/>
                    <a:pt x="422" y="680"/>
                    <a:pt x="417" y="684"/>
                  </a:cubicBezTo>
                  <a:cubicBezTo>
                    <a:pt x="381" y="720"/>
                    <a:pt x="381" y="720"/>
                    <a:pt x="381" y="720"/>
                  </a:cubicBezTo>
                  <a:cubicBezTo>
                    <a:pt x="377" y="725"/>
                    <a:pt x="370" y="728"/>
                    <a:pt x="364" y="728"/>
                  </a:cubicBezTo>
                  <a:cubicBezTo>
                    <a:pt x="358" y="728"/>
                    <a:pt x="352" y="725"/>
                    <a:pt x="347" y="720"/>
                  </a:cubicBezTo>
                  <a:cubicBezTo>
                    <a:pt x="8" y="381"/>
                    <a:pt x="8" y="381"/>
                    <a:pt x="8" y="381"/>
                  </a:cubicBezTo>
                  <a:cubicBezTo>
                    <a:pt x="3" y="376"/>
                    <a:pt x="0" y="369"/>
                    <a:pt x="0" y="364"/>
                  </a:cubicBezTo>
                  <a:cubicBezTo>
                    <a:pt x="0" y="358"/>
                    <a:pt x="3" y="351"/>
                    <a:pt x="8" y="347"/>
                  </a:cubicBezTo>
                  <a:cubicBezTo>
                    <a:pt x="347" y="7"/>
                    <a:pt x="347" y="7"/>
                    <a:pt x="347" y="7"/>
                  </a:cubicBezTo>
                  <a:cubicBezTo>
                    <a:pt x="352" y="3"/>
                    <a:pt x="358" y="0"/>
                    <a:pt x="364" y="0"/>
                  </a:cubicBezTo>
                  <a:cubicBezTo>
                    <a:pt x="370" y="0"/>
                    <a:pt x="377" y="3"/>
                    <a:pt x="381" y="7"/>
                  </a:cubicBezTo>
                  <a:cubicBezTo>
                    <a:pt x="417" y="44"/>
                    <a:pt x="417" y="44"/>
                    <a:pt x="417" y="44"/>
                  </a:cubicBezTo>
                  <a:cubicBezTo>
                    <a:pt x="422" y="48"/>
                    <a:pt x="425" y="54"/>
                    <a:pt x="425" y="60"/>
                  </a:cubicBezTo>
                  <a:cubicBezTo>
                    <a:pt x="425" y="66"/>
                    <a:pt x="422" y="73"/>
                    <a:pt x="417" y="77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9" name="Freeform 8">
              <a:hlinkClick r:id="" action="ppaction://hlinkshowjump?jump=previousslide"/>
            </p:cNvPr>
            <p:cNvSpPr>
              <a:spLocks noEditPoints="1"/>
            </p:cNvSpPr>
            <p:nvPr userDrawn="1"/>
          </p:nvSpPr>
          <p:spPr bwMode="auto">
            <a:xfrm>
              <a:off x="4328868" y="5502988"/>
              <a:ext cx="500307" cy="493774"/>
            </a:xfrm>
            <a:custGeom>
              <a:avLst/>
              <a:gdLst>
                <a:gd name="T0" fmla="*/ 2355 w 2753"/>
                <a:gd name="T1" fmla="*/ 114 h 2716"/>
                <a:gd name="T2" fmla="*/ 2639 w 2753"/>
                <a:gd name="T3" fmla="*/ 399 h 2716"/>
                <a:gd name="T4" fmla="*/ 2639 w 2753"/>
                <a:gd name="T5" fmla="*/ 2317 h 2716"/>
                <a:gd name="T6" fmla="*/ 2355 w 2753"/>
                <a:gd name="T7" fmla="*/ 2602 h 2716"/>
                <a:gd name="T8" fmla="*/ 398 w 2753"/>
                <a:gd name="T9" fmla="*/ 2602 h 2716"/>
                <a:gd name="T10" fmla="*/ 113 w 2753"/>
                <a:gd name="T11" fmla="*/ 2317 h 2716"/>
                <a:gd name="T12" fmla="*/ 113 w 2753"/>
                <a:gd name="T13" fmla="*/ 399 h 2716"/>
                <a:gd name="T14" fmla="*/ 398 w 2753"/>
                <a:gd name="T15" fmla="*/ 114 h 2716"/>
                <a:gd name="T16" fmla="*/ 2355 w 2753"/>
                <a:gd name="T17" fmla="*/ 114 h 2716"/>
                <a:gd name="T18" fmla="*/ 2355 w 2753"/>
                <a:gd name="T19" fmla="*/ 0 h 2716"/>
                <a:gd name="T20" fmla="*/ 398 w 2753"/>
                <a:gd name="T21" fmla="*/ 0 h 2716"/>
                <a:gd name="T22" fmla="*/ 0 w 2753"/>
                <a:gd name="T23" fmla="*/ 399 h 2716"/>
                <a:gd name="T24" fmla="*/ 0 w 2753"/>
                <a:gd name="T25" fmla="*/ 2317 h 2716"/>
                <a:gd name="T26" fmla="*/ 398 w 2753"/>
                <a:gd name="T27" fmla="*/ 2716 h 2716"/>
                <a:gd name="T28" fmla="*/ 2355 w 2753"/>
                <a:gd name="T29" fmla="*/ 2716 h 2716"/>
                <a:gd name="T30" fmla="*/ 2753 w 2753"/>
                <a:gd name="T31" fmla="*/ 2317 h 2716"/>
                <a:gd name="T32" fmla="*/ 2753 w 2753"/>
                <a:gd name="T33" fmla="*/ 399 h 2716"/>
                <a:gd name="T34" fmla="*/ 2355 w 2753"/>
                <a:gd name="T35" fmla="*/ 0 h 2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753" h="2716">
                  <a:moveTo>
                    <a:pt x="2355" y="114"/>
                  </a:moveTo>
                  <a:cubicBezTo>
                    <a:pt x="2512" y="114"/>
                    <a:pt x="2639" y="242"/>
                    <a:pt x="2639" y="399"/>
                  </a:cubicBezTo>
                  <a:cubicBezTo>
                    <a:pt x="2639" y="2317"/>
                    <a:pt x="2639" y="2317"/>
                    <a:pt x="2639" y="2317"/>
                  </a:cubicBezTo>
                  <a:cubicBezTo>
                    <a:pt x="2639" y="2474"/>
                    <a:pt x="2512" y="2602"/>
                    <a:pt x="2355" y="2602"/>
                  </a:cubicBezTo>
                  <a:cubicBezTo>
                    <a:pt x="398" y="2602"/>
                    <a:pt x="398" y="2602"/>
                    <a:pt x="398" y="2602"/>
                  </a:cubicBezTo>
                  <a:cubicBezTo>
                    <a:pt x="241" y="2602"/>
                    <a:pt x="113" y="2474"/>
                    <a:pt x="113" y="2317"/>
                  </a:cubicBezTo>
                  <a:cubicBezTo>
                    <a:pt x="113" y="399"/>
                    <a:pt x="113" y="399"/>
                    <a:pt x="113" y="399"/>
                  </a:cubicBezTo>
                  <a:cubicBezTo>
                    <a:pt x="113" y="242"/>
                    <a:pt x="241" y="114"/>
                    <a:pt x="398" y="114"/>
                  </a:cubicBezTo>
                  <a:cubicBezTo>
                    <a:pt x="2355" y="114"/>
                    <a:pt x="2355" y="114"/>
                    <a:pt x="2355" y="114"/>
                  </a:cubicBezTo>
                  <a:moveTo>
                    <a:pt x="2355" y="0"/>
                  </a:moveTo>
                  <a:cubicBezTo>
                    <a:pt x="398" y="0"/>
                    <a:pt x="398" y="0"/>
                    <a:pt x="398" y="0"/>
                  </a:cubicBezTo>
                  <a:cubicBezTo>
                    <a:pt x="178" y="0"/>
                    <a:pt x="0" y="179"/>
                    <a:pt x="0" y="399"/>
                  </a:cubicBezTo>
                  <a:cubicBezTo>
                    <a:pt x="0" y="2317"/>
                    <a:pt x="0" y="2317"/>
                    <a:pt x="0" y="2317"/>
                  </a:cubicBezTo>
                  <a:cubicBezTo>
                    <a:pt x="0" y="2538"/>
                    <a:pt x="178" y="2716"/>
                    <a:pt x="398" y="2716"/>
                  </a:cubicBezTo>
                  <a:cubicBezTo>
                    <a:pt x="2355" y="2716"/>
                    <a:pt x="2355" y="2716"/>
                    <a:pt x="2355" y="2716"/>
                  </a:cubicBezTo>
                  <a:cubicBezTo>
                    <a:pt x="2575" y="2716"/>
                    <a:pt x="2753" y="2538"/>
                    <a:pt x="2753" y="2317"/>
                  </a:cubicBezTo>
                  <a:cubicBezTo>
                    <a:pt x="2753" y="399"/>
                    <a:pt x="2753" y="399"/>
                    <a:pt x="2753" y="399"/>
                  </a:cubicBezTo>
                  <a:cubicBezTo>
                    <a:pt x="2753" y="179"/>
                    <a:pt x="2575" y="0"/>
                    <a:pt x="2355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10" name="Group 9"/>
          <p:cNvGrpSpPr/>
          <p:nvPr userDrawn="1"/>
        </p:nvGrpSpPr>
        <p:grpSpPr>
          <a:xfrm flipH="1">
            <a:off x="933709" y="6409324"/>
            <a:ext cx="224082" cy="221156"/>
            <a:chOff x="4328868" y="5502988"/>
            <a:chExt cx="500307" cy="493774"/>
          </a:xfrm>
        </p:grpSpPr>
        <p:sp>
          <p:nvSpPr>
            <p:cNvPr id="11" name="Freeform 10">
              <a:hlinkClick r:id="" action="ppaction://hlinkshowjump?jump=nextslide"/>
            </p:cNvPr>
            <p:cNvSpPr>
              <a:spLocks/>
            </p:cNvSpPr>
            <p:nvPr userDrawn="1"/>
          </p:nvSpPr>
          <p:spPr bwMode="auto">
            <a:xfrm>
              <a:off x="4520556" y="5649754"/>
              <a:ext cx="116933" cy="200242"/>
            </a:xfrm>
            <a:custGeom>
              <a:avLst/>
              <a:gdLst>
                <a:gd name="T0" fmla="*/ 417 w 425"/>
                <a:gd name="T1" fmla="*/ 77 h 728"/>
                <a:gd name="T2" fmla="*/ 131 w 425"/>
                <a:gd name="T3" fmla="*/ 364 h 728"/>
                <a:gd name="T4" fmla="*/ 417 w 425"/>
                <a:gd name="T5" fmla="*/ 650 h 728"/>
                <a:gd name="T6" fmla="*/ 425 w 425"/>
                <a:gd name="T7" fmla="*/ 667 h 728"/>
                <a:gd name="T8" fmla="*/ 417 w 425"/>
                <a:gd name="T9" fmla="*/ 684 h 728"/>
                <a:gd name="T10" fmla="*/ 381 w 425"/>
                <a:gd name="T11" fmla="*/ 720 h 728"/>
                <a:gd name="T12" fmla="*/ 364 w 425"/>
                <a:gd name="T13" fmla="*/ 728 h 728"/>
                <a:gd name="T14" fmla="*/ 347 w 425"/>
                <a:gd name="T15" fmla="*/ 720 h 728"/>
                <a:gd name="T16" fmla="*/ 8 w 425"/>
                <a:gd name="T17" fmla="*/ 381 h 728"/>
                <a:gd name="T18" fmla="*/ 0 w 425"/>
                <a:gd name="T19" fmla="*/ 364 h 728"/>
                <a:gd name="T20" fmla="*/ 8 w 425"/>
                <a:gd name="T21" fmla="*/ 347 h 728"/>
                <a:gd name="T22" fmla="*/ 347 w 425"/>
                <a:gd name="T23" fmla="*/ 7 h 728"/>
                <a:gd name="T24" fmla="*/ 364 w 425"/>
                <a:gd name="T25" fmla="*/ 0 h 728"/>
                <a:gd name="T26" fmla="*/ 381 w 425"/>
                <a:gd name="T27" fmla="*/ 7 h 728"/>
                <a:gd name="T28" fmla="*/ 417 w 425"/>
                <a:gd name="T29" fmla="*/ 44 h 728"/>
                <a:gd name="T30" fmla="*/ 425 w 425"/>
                <a:gd name="T31" fmla="*/ 60 h 728"/>
                <a:gd name="T32" fmla="*/ 417 w 425"/>
                <a:gd name="T33" fmla="*/ 77 h 7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25" h="728">
                  <a:moveTo>
                    <a:pt x="417" y="77"/>
                  </a:moveTo>
                  <a:cubicBezTo>
                    <a:pt x="131" y="364"/>
                    <a:pt x="131" y="364"/>
                    <a:pt x="131" y="364"/>
                  </a:cubicBezTo>
                  <a:cubicBezTo>
                    <a:pt x="417" y="650"/>
                    <a:pt x="417" y="650"/>
                    <a:pt x="417" y="650"/>
                  </a:cubicBezTo>
                  <a:cubicBezTo>
                    <a:pt x="422" y="655"/>
                    <a:pt x="425" y="661"/>
                    <a:pt x="425" y="667"/>
                  </a:cubicBezTo>
                  <a:cubicBezTo>
                    <a:pt x="425" y="673"/>
                    <a:pt x="422" y="680"/>
                    <a:pt x="417" y="684"/>
                  </a:cubicBezTo>
                  <a:cubicBezTo>
                    <a:pt x="381" y="720"/>
                    <a:pt x="381" y="720"/>
                    <a:pt x="381" y="720"/>
                  </a:cubicBezTo>
                  <a:cubicBezTo>
                    <a:pt x="377" y="725"/>
                    <a:pt x="370" y="728"/>
                    <a:pt x="364" y="728"/>
                  </a:cubicBezTo>
                  <a:cubicBezTo>
                    <a:pt x="358" y="728"/>
                    <a:pt x="352" y="725"/>
                    <a:pt x="347" y="720"/>
                  </a:cubicBezTo>
                  <a:cubicBezTo>
                    <a:pt x="8" y="381"/>
                    <a:pt x="8" y="381"/>
                    <a:pt x="8" y="381"/>
                  </a:cubicBezTo>
                  <a:cubicBezTo>
                    <a:pt x="3" y="376"/>
                    <a:pt x="0" y="369"/>
                    <a:pt x="0" y="364"/>
                  </a:cubicBezTo>
                  <a:cubicBezTo>
                    <a:pt x="0" y="358"/>
                    <a:pt x="3" y="351"/>
                    <a:pt x="8" y="347"/>
                  </a:cubicBezTo>
                  <a:cubicBezTo>
                    <a:pt x="347" y="7"/>
                    <a:pt x="347" y="7"/>
                    <a:pt x="347" y="7"/>
                  </a:cubicBezTo>
                  <a:cubicBezTo>
                    <a:pt x="352" y="3"/>
                    <a:pt x="358" y="0"/>
                    <a:pt x="364" y="0"/>
                  </a:cubicBezTo>
                  <a:cubicBezTo>
                    <a:pt x="370" y="0"/>
                    <a:pt x="377" y="3"/>
                    <a:pt x="381" y="7"/>
                  </a:cubicBezTo>
                  <a:cubicBezTo>
                    <a:pt x="417" y="44"/>
                    <a:pt x="417" y="44"/>
                    <a:pt x="417" y="44"/>
                  </a:cubicBezTo>
                  <a:cubicBezTo>
                    <a:pt x="422" y="48"/>
                    <a:pt x="425" y="54"/>
                    <a:pt x="425" y="60"/>
                  </a:cubicBezTo>
                  <a:cubicBezTo>
                    <a:pt x="425" y="66"/>
                    <a:pt x="422" y="73"/>
                    <a:pt x="417" y="77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12" name="Freeform 11">
              <a:hlinkClick r:id="" action="ppaction://hlinkshowjump?jump=nextslide"/>
            </p:cNvPr>
            <p:cNvSpPr>
              <a:spLocks noEditPoints="1"/>
            </p:cNvSpPr>
            <p:nvPr userDrawn="1"/>
          </p:nvSpPr>
          <p:spPr bwMode="auto">
            <a:xfrm>
              <a:off x="4328868" y="5502988"/>
              <a:ext cx="500307" cy="493774"/>
            </a:xfrm>
            <a:custGeom>
              <a:avLst/>
              <a:gdLst>
                <a:gd name="T0" fmla="*/ 2355 w 2753"/>
                <a:gd name="T1" fmla="*/ 114 h 2716"/>
                <a:gd name="T2" fmla="*/ 2639 w 2753"/>
                <a:gd name="T3" fmla="*/ 399 h 2716"/>
                <a:gd name="T4" fmla="*/ 2639 w 2753"/>
                <a:gd name="T5" fmla="*/ 2317 h 2716"/>
                <a:gd name="T6" fmla="*/ 2355 w 2753"/>
                <a:gd name="T7" fmla="*/ 2602 h 2716"/>
                <a:gd name="T8" fmla="*/ 398 w 2753"/>
                <a:gd name="T9" fmla="*/ 2602 h 2716"/>
                <a:gd name="T10" fmla="*/ 113 w 2753"/>
                <a:gd name="T11" fmla="*/ 2317 h 2716"/>
                <a:gd name="T12" fmla="*/ 113 w 2753"/>
                <a:gd name="T13" fmla="*/ 399 h 2716"/>
                <a:gd name="T14" fmla="*/ 398 w 2753"/>
                <a:gd name="T15" fmla="*/ 114 h 2716"/>
                <a:gd name="T16" fmla="*/ 2355 w 2753"/>
                <a:gd name="T17" fmla="*/ 114 h 2716"/>
                <a:gd name="T18" fmla="*/ 2355 w 2753"/>
                <a:gd name="T19" fmla="*/ 0 h 2716"/>
                <a:gd name="T20" fmla="*/ 398 w 2753"/>
                <a:gd name="T21" fmla="*/ 0 h 2716"/>
                <a:gd name="T22" fmla="*/ 0 w 2753"/>
                <a:gd name="T23" fmla="*/ 399 h 2716"/>
                <a:gd name="T24" fmla="*/ 0 w 2753"/>
                <a:gd name="T25" fmla="*/ 2317 h 2716"/>
                <a:gd name="T26" fmla="*/ 398 w 2753"/>
                <a:gd name="T27" fmla="*/ 2716 h 2716"/>
                <a:gd name="T28" fmla="*/ 2355 w 2753"/>
                <a:gd name="T29" fmla="*/ 2716 h 2716"/>
                <a:gd name="T30" fmla="*/ 2753 w 2753"/>
                <a:gd name="T31" fmla="*/ 2317 h 2716"/>
                <a:gd name="T32" fmla="*/ 2753 w 2753"/>
                <a:gd name="T33" fmla="*/ 399 h 2716"/>
                <a:gd name="T34" fmla="*/ 2355 w 2753"/>
                <a:gd name="T35" fmla="*/ 0 h 27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753" h="2716">
                  <a:moveTo>
                    <a:pt x="2355" y="114"/>
                  </a:moveTo>
                  <a:cubicBezTo>
                    <a:pt x="2512" y="114"/>
                    <a:pt x="2639" y="242"/>
                    <a:pt x="2639" y="399"/>
                  </a:cubicBezTo>
                  <a:cubicBezTo>
                    <a:pt x="2639" y="2317"/>
                    <a:pt x="2639" y="2317"/>
                    <a:pt x="2639" y="2317"/>
                  </a:cubicBezTo>
                  <a:cubicBezTo>
                    <a:pt x="2639" y="2474"/>
                    <a:pt x="2512" y="2602"/>
                    <a:pt x="2355" y="2602"/>
                  </a:cubicBezTo>
                  <a:cubicBezTo>
                    <a:pt x="398" y="2602"/>
                    <a:pt x="398" y="2602"/>
                    <a:pt x="398" y="2602"/>
                  </a:cubicBezTo>
                  <a:cubicBezTo>
                    <a:pt x="241" y="2602"/>
                    <a:pt x="113" y="2474"/>
                    <a:pt x="113" y="2317"/>
                  </a:cubicBezTo>
                  <a:cubicBezTo>
                    <a:pt x="113" y="399"/>
                    <a:pt x="113" y="399"/>
                    <a:pt x="113" y="399"/>
                  </a:cubicBezTo>
                  <a:cubicBezTo>
                    <a:pt x="113" y="242"/>
                    <a:pt x="241" y="114"/>
                    <a:pt x="398" y="114"/>
                  </a:cubicBezTo>
                  <a:cubicBezTo>
                    <a:pt x="2355" y="114"/>
                    <a:pt x="2355" y="114"/>
                    <a:pt x="2355" y="114"/>
                  </a:cubicBezTo>
                  <a:moveTo>
                    <a:pt x="2355" y="0"/>
                  </a:moveTo>
                  <a:cubicBezTo>
                    <a:pt x="398" y="0"/>
                    <a:pt x="398" y="0"/>
                    <a:pt x="398" y="0"/>
                  </a:cubicBezTo>
                  <a:cubicBezTo>
                    <a:pt x="178" y="0"/>
                    <a:pt x="0" y="179"/>
                    <a:pt x="0" y="399"/>
                  </a:cubicBezTo>
                  <a:cubicBezTo>
                    <a:pt x="0" y="2317"/>
                    <a:pt x="0" y="2317"/>
                    <a:pt x="0" y="2317"/>
                  </a:cubicBezTo>
                  <a:cubicBezTo>
                    <a:pt x="0" y="2538"/>
                    <a:pt x="178" y="2716"/>
                    <a:pt x="398" y="2716"/>
                  </a:cubicBezTo>
                  <a:cubicBezTo>
                    <a:pt x="2355" y="2716"/>
                    <a:pt x="2355" y="2716"/>
                    <a:pt x="2355" y="2716"/>
                  </a:cubicBezTo>
                  <a:cubicBezTo>
                    <a:pt x="2575" y="2716"/>
                    <a:pt x="2753" y="2538"/>
                    <a:pt x="2753" y="2317"/>
                  </a:cubicBezTo>
                  <a:cubicBezTo>
                    <a:pt x="2753" y="399"/>
                    <a:pt x="2753" y="399"/>
                    <a:pt x="2753" y="399"/>
                  </a:cubicBezTo>
                  <a:cubicBezTo>
                    <a:pt x="2753" y="179"/>
                    <a:pt x="2575" y="0"/>
                    <a:pt x="2355" y="0"/>
                  </a:cubicBez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cxnSp>
        <p:nvCxnSpPr>
          <p:cNvPr id="4" name="Straight Connector 3"/>
          <p:cNvCxnSpPr/>
          <p:nvPr userDrawn="1"/>
        </p:nvCxnSpPr>
        <p:spPr>
          <a:xfrm>
            <a:off x="552709" y="6522684"/>
            <a:ext cx="381000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9266144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586116" y="6499910"/>
            <a:ext cx="605883" cy="345805"/>
          </a:xfrm>
        </p:spPr>
        <p:txBody>
          <a:bodyPr/>
          <a:lstStyle>
            <a:lvl1pPr>
              <a:defRPr sz="10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52E43EAC-4EE4-493E-B844-9691317359C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81860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el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2063362" y="1648801"/>
            <a:ext cx="3840439" cy="3286903"/>
          </a:xfrm>
        </p:spPr>
        <p:txBody>
          <a:bodyPr/>
          <a:lstStyle/>
          <a:p>
            <a:endParaRPr lang="en-US"/>
          </a:p>
        </p:txBody>
      </p:sp>
      <p:sp>
        <p:nvSpPr>
          <p:cNvPr id="8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6272384" y="1648801"/>
            <a:ext cx="3840439" cy="3286903"/>
          </a:xfrm>
        </p:spPr>
        <p:txBody>
          <a:bodyPr/>
          <a:lstStyle/>
          <a:p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70C3966A-647F-4612-BE76-F031A1652716}" type="datetimeFigureOut">
              <a:rPr lang="en-US" smtClean="0"/>
              <a:t>2/25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490251" y="6449369"/>
            <a:ext cx="415999" cy="24938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fld id="{DB1CA209-181F-46EF-9285-755E64EE8A8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69511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el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70C3966A-647F-4612-BE76-F031A1652716}" type="datetimeFigureOut">
              <a:rPr lang="en-US" smtClean="0"/>
              <a:t>2/25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490251" y="6449369"/>
            <a:ext cx="415999" cy="24938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fld id="{DB1CA209-181F-46EF-9285-755E64EE8A8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1044224" y="1793794"/>
            <a:ext cx="3115200" cy="2666195"/>
          </a:xfrm>
        </p:spPr>
        <p:txBody>
          <a:bodyPr/>
          <a:lstStyle/>
          <a:p>
            <a:endParaRPr lang="en-US"/>
          </a:p>
        </p:txBody>
      </p:sp>
      <p:sp>
        <p:nvSpPr>
          <p:cNvPr id="12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4538400" y="1793794"/>
            <a:ext cx="3108786" cy="2666195"/>
          </a:xfrm>
        </p:spPr>
        <p:txBody>
          <a:bodyPr/>
          <a:lstStyle/>
          <a:p>
            <a:endParaRPr lang="en-US"/>
          </a:p>
        </p:txBody>
      </p:sp>
      <p:sp>
        <p:nvSpPr>
          <p:cNvPr id="13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8026163" y="1793794"/>
            <a:ext cx="3108786" cy="266619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31515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el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641482" y="1996420"/>
            <a:ext cx="2867894" cy="2396943"/>
          </a:xfrm>
        </p:spPr>
        <p:txBody>
          <a:bodyPr/>
          <a:lstStyle/>
          <a:p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70C3966A-647F-4612-BE76-F031A1652716}" type="datetimeFigureOut">
              <a:rPr lang="en-US" smtClean="0"/>
              <a:t>2/25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490251" y="6449369"/>
            <a:ext cx="415999" cy="24938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fld id="{DB1CA209-181F-46EF-9285-755E64EE8A8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1417997" y="3411678"/>
            <a:ext cx="2867894" cy="2396943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15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4072597" y="2674084"/>
            <a:ext cx="2367155" cy="1841878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21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5363412" y="4515961"/>
            <a:ext cx="1650902" cy="1385111"/>
          </a:xfrm>
          <a:solidFill>
            <a:schemeClr val="bg1">
              <a:lumMod val="75000"/>
            </a:schemeClr>
          </a:solidFill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139357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0" y="1300163"/>
            <a:ext cx="12192000" cy="5557837"/>
          </a:xfr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lvl1pPr algn="l">
              <a:defRPr lang="en-US" sz="18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pPr marL="0" lvl="0" algn="ctr" defTabSz="914377"/>
            <a:endParaRPr lang="en-US"/>
          </a:p>
        </p:txBody>
      </p:sp>
      <p:sp>
        <p:nvSpPr>
          <p:cNvPr id="13" name="Picture Placeholder 11"/>
          <p:cNvSpPr>
            <a:spLocks noGrp="1"/>
          </p:cNvSpPr>
          <p:nvPr>
            <p:ph type="pic" sz="quarter" idx="14"/>
          </p:nvPr>
        </p:nvSpPr>
        <p:spPr>
          <a:xfrm>
            <a:off x="3193182" y="1926325"/>
            <a:ext cx="5805638" cy="3046109"/>
          </a:xfrm>
          <a:solidFill>
            <a:schemeClr val="bg1">
              <a:lumMod val="8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1800"/>
            </a:lvl1pPr>
          </a:lstStyle>
          <a:p>
            <a:pPr marL="0" lvl="0" algn="ctr" defTabSz="914377"/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70C3966A-647F-4612-BE76-F031A1652716}" type="datetimeFigureOut">
              <a:rPr lang="en-US" smtClean="0"/>
              <a:t>2/25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490251" y="6449369"/>
            <a:ext cx="415999" cy="24938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fld id="{DB1CA209-181F-46EF-9285-755E64EE8A8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907857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0" y="1300163"/>
            <a:ext cx="12192000" cy="5557837"/>
          </a:xfr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lvl1pPr algn="l">
              <a:defRPr lang="en-US" sz="18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pPr marL="0" lvl="0" algn="ctr" defTabSz="914377"/>
            <a:endParaRPr lang="en-US"/>
          </a:p>
        </p:txBody>
      </p:sp>
      <p:sp>
        <p:nvSpPr>
          <p:cNvPr id="13" name="Picture Placeholder 11"/>
          <p:cNvSpPr>
            <a:spLocks noGrp="1"/>
          </p:cNvSpPr>
          <p:nvPr>
            <p:ph type="pic" sz="quarter" idx="14"/>
          </p:nvPr>
        </p:nvSpPr>
        <p:spPr>
          <a:xfrm>
            <a:off x="803354" y="2427785"/>
            <a:ext cx="4304067" cy="2239850"/>
          </a:xfrm>
          <a:solidFill>
            <a:schemeClr val="bg1">
              <a:lumMod val="8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1800"/>
            </a:lvl1pPr>
          </a:lstStyle>
          <a:p>
            <a:pPr marL="0" lvl="0" algn="ctr" defTabSz="914377"/>
            <a:endParaRPr lang="en-US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15"/>
          </p:nvPr>
        </p:nvSpPr>
        <p:spPr>
          <a:xfrm>
            <a:off x="6990229" y="2427785"/>
            <a:ext cx="4304067" cy="2239850"/>
          </a:xfrm>
          <a:solidFill>
            <a:schemeClr val="bg1">
              <a:lumMod val="8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>
              <a:defRPr lang="en-US" sz="1800"/>
            </a:lvl1pPr>
          </a:lstStyle>
          <a:p>
            <a:pPr marL="0" lvl="0" algn="ctr" defTabSz="914377"/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70C3966A-647F-4612-BE76-F031A1652716}" type="datetimeFigureOut">
              <a:rPr lang="en-US" smtClean="0"/>
              <a:t>2/25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490251" y="6449369"/>
            <a:ext cx="415999" cy="24938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fld id="{DB1CA209-181F-46EF-9285-755E64EE8A8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6779236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tags" Target="../tags/tag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11418034" y="6439987"/>
            <a:ext cx="529212" cy="28403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Oval 36"/>
          <p:cNvSpPr/>
          <p:nvPr userDrawn="1"/>
        </p:nvSpPr>
        <p:spPr>
          <a:xfrm>
            <a:off x="829580" y="1154090"/>
            <a:ext cx="10532841" cy="243056"/>
          </a:xfrm>
          <a:prstGeom prst="ellipse">
            <a:avLst/>
          </a:prstGeom>
          <a:gradFill flip="none" rotWithShape="1">
            <a:gsLst>
              <a:gs pos="0">
                <a:schemeClr val="tx1">
                  <a:alpha val="16000"/>
                </a:schemeClr>
              </a:gs>
              <a:gs pos="100000">
                <a:schemeClr val="bg1"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38" name="Rectangle 37"/>
          <p:cNvSpPr/>
          <p:nvPr userDrawn="1"/>
        </p:nvSpPr>
        <p:spPr>
          <a:xfrm>
            <a:off x="0" y="322195"/>
            <a:ext cx="12192000" cy="95466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46100" y="568560"/>
            <a:ext cx="10515600" cy="46193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6100" y="1647605"/>
            <a:ext cx="10515600" cy="467209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3" name="Footer Placeholder 2"/>
          <p:cNvSpPr txBox="1">
            <a:spLocks/>
          </p:cNvSpPr>
          <p:nvPr>
            <p:custDataLst>
              <p:tags r:id="rId47"/>
            </p:custDataLst>
          </p:nvPr>
        </p:nvSpPr>
        <p:spPr>
          <a:xfrm>
            <a:off x="10423926" y="6439987"/>
            <a:ext cx="1039338" cy="284031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900" b="0" spc="300" dirty="0">
                <a:solidFill>
                  <a:schemeClr val="bg1"/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Your Logo</a:t>
            </a:r>
          </a:p>
        </p:txBody>
      </p:sp>
      <p:sp>
        <p:nvSpPr>
          <p:cNvPr id="6" name="Slide Number Placeholder 5"/>
          <p:cNvSpPr>
            <a:spLocks noGrp="1"/>
          </p:cNvSpPr>
          <p:nvPr userDrawn="1">
            <p:ph type="sldNum" sz="quarter" idx="4"/>
          </p:nvPr>
        </p:nvSpPr>
        <p:spPr>
          <a:xfrm>
            <a:off x="11484445" y="6449369"/>
            <a:ext cx="396389" cy="249385"/>
          </a:xfrm>
          <a:prstGeom prst="rect">
            <a:avLst/>
          </a:prstGeom>
          <a:noFill/>
        </p:spPr>
        <p:txBody>
          <a:bodyPr anchor="ctr"/>
          <a:lstStyle>
            <a:lvl1pPr>
              <a:defRPr lang="en-US" sz="900" smtClean="0">
                <a:solidFill>
                  <a:schemeClr val="bg1"/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algn="ctr" defTabSz="914400"/>
            <a:fld id="{DB1CA209-181F-46EF-9285-755E64EE8A8B}" type="slidenum">
              <a:rPr lang="uk-UA" smtClean="0"/>
              <a:pPr algn="ctr" defTabSz="914400"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33839299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4" r:id="rId2"/>
    <p:sldLayoutId id="2147483655" r:id="rId3"/>
    <p:sldLayoutId id="2147483696" r:id="rId4"/>
    <p:sldLayoutId id="2147483697" r:id="rId5"/>
    <p:sldLayoutId id="2147483698" r:id="rId6"/>
    <p:sldLayoutId id="2147483699" r:id="rId7"/>
    <p:sldLayoutId id="2147483693" r:id="rId8"/>
    <p:sldLayoutId id="2147483694" r:id="rId9"/>
    <p:sldLayoutId id="2147483692" r:id="rId10"/>
    <p:sldLayoutId id="2147483691" r:id="rId11"/>
    <p:sldLayoutId id="2147483676" r:id="rId12"/>
    <p:sldLayoutId id="2147483675" r:id="rId13"/>
    <p:sldLayoutId id="2147483674" r:id="rId14"/>
    <p:sldLayoutId id="2147483673" r:id="rId15"/>
    <p:sldLayoutId id="2147483672" r:id="rId16"/>
    <p:sldLayoutId id="2147483671" r:id="rId17"/>
    <p:sldLayoutId id="2147483668" r:id="rId18"/>
    <p:sldLayoutId id="2147483667" r:id="rId19"/>
    <p:sldLayoutId id="2147483664" r:id="rId20"/>
    <p:sldLayoutId id="2147483665" r:id="rId21"/>
    <p:sldLayoutId id="2147483658" r:id="rId22"/>
    <p:sldLayoutId id="2147483679" r:id="rId23"/>
    <p:sldLayoutId id="2147483678" r:id="rId24"/>
    <p:sldLayoutId id="2147483677" r:id="rId25"/>
    <p:sldLayoutId id="2147483669" r:id="rId26"/>
    <p:sldLayoutId id="2147483666" r:id="rId27"/>
    <p:sldLayoutId id="2147483670" r:id="rId28"/>
    <p:sldLayoutId id="2147483656" r:id="rId29"/>
    <p:sldLayoutId id="2147483688" r:id="rId30"/>
    <p:sldLayoutId id="2147483690" r:id="rId31"/>
    <p:sldLayoutId id="2147483661" r:id="rId32"/>
    <p:sldLayoutId id="2147483695" r:id="rId33"/>
    <p:sldLayoutId id="2147483686" r:id="rId34"/>
    <p:sldLayoutId id="2147483685" r:id="rId35"/>
    <p:sldLayoutId id="2147483680" r:id="rId36"/>
    <p:sldLayoutId id="2147483684" r:id="rId37"/>
    <p:sldLayoutId id="2147483683" r:id="rId38"/>
    <p:sldLayoutId id="2147483682" r:id="rId39"/>
    <p:sldLayoutId id="2147483687" r:id="rId40"/>
    <p:sldLayoutId id="2147483681" r:id="rId41"/>
    <p:sldLayoutId id="2147483662" r:id="rId42"/>
    <p:sldLayoutId id="2147483663" r:id="rId43"/>
    <p:sldLayoutId id="2147483657" r:id="rId44"/>
    <p:sldLayoutId id="2147483660" r:id="rId45"/>
  </p:sldLayoutIdLst>
  <p:txStyles>
    <p:titleStyle>
      <a:lvl1pPr algn="ctr" defTabSz="914354" rtl="0" eaLnBrk="1" latinLnBrk="0" hangingPunct="1">
        <a:lnSpc>
          <a:spcPct val="90000"/>
        </a:lnSpc>
        <a:spcBef>
          <a:spcPct val="0"/>
        </a:spcBef>
        <a:buNone/>
        <a:defRPr sz="2800" kern="1200">
          <a:solidFill>
            <a:schemeClr val="tx1">
              <a:lumMod val="75000"/>
              <a:lumOff val="25000"/>
            </a:schemeClr>
          </a:solidFill>
          <a:latin typeface="Roboto Condensed" panose="02000000000000000000" pitchFamily="2" charset="0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3.xml"/><Relationship Id="rId5" Type="http://schemas.openxmlformats.org/officeDocument/2006/relationships/image" Target="../media/image4.jpeg"/><Relationship Id="rId4" Type="http://schemas.openxmlformats.org/officeDocument/2006/relationships/image" Target="../media/image3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6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6.jpe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image" Target="../media/image27.jpg"/><Relationship Id="rId7" Type="http://schemas.openxmlformats.org/officeDocument/2006/relationships/image" Target="../media/image6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Relationship Id="rId6" Type="http://schemas.openxmlformats.org/officeDocument/2006/relationships/hyperlink" Target="https://wise-paas.advantech.com/en-us" TargetMode="External"/><Relationship Id="rId5" Type="http://schemas.openxmlformats.org/officeDocument/2006/relationships/hyperlink" Target="https://www.proxis.ua/" TargetMode="External"/><Relationship Id="rId4" Type="http://schemas.openxmlformats.org/officeDocument/2006/relationships/image" Target="../media/image28.jpg"/><Relationship Id="rId9" Type="http://schemas.openxmlformats.org/officeDocument/2006/relationships/image" Target="../media/image30.gi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7.xml"/><Relationship Id="rId4" Type="http://schemas.openxmlformats.org/officeDocument/2006/relationships/image" Target="../media/image6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6.jpeg"/><Relationship Id="rId4" Type="http://schemas.openxmlformats.org/officeDocument/2006/relationships/image" Target="../media/image8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6.jpeg"/><Relationship Id="rId4" Type="http://schemas.openxmlformats.org/officeDocument/2006/relationships/image" Target="../media/image10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6.jpeg"/><Relationship Id="rId5" Type="http://schemas.openxmlformats.org/officeDocument/2006/relationships/image" Target="../media/image13.jpg"/><Relationship Id="rId4" Type="http://schemas.openxmlformats.org/officeDocument/2006/relationships/image" Target="../media/image12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7" Type="http://schemas.openxmlformats.org/officeDocument/2006/relationships/image" Target="../media/image6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7.jpeg"/><Relationship Id="rId5" Type="http://schemas.openxmlformats.org/officeDocument/2006/relationships/image" Target="../media/image16.jpeg"/><Relationship Id="rId4" Type="http://schemas.openxmlformats.org/officeDocument/2006/relationships/image" Target="../media/image15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6.jpeg"/><Relationship Id="rId4" Type="http://schemas.openxmlformats.org/officeDocument/2006/relationships/image" Target="../media/image19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6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7" Type="http://schemas.openxmlformats.org/officeDocument/2006/relationships/image" Target="../media/image6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4.jpeg"/><Relationship Id="rId5" Type="http://schemas.openxmlformats.org/officeDocument/2006/relationships/image" Target="../media/image23.jpeg"/><Relationship Id="rId4" Type="http://schemas.openxmlformats.org/officeDocument/2006/relationships/image" Target="../media/image22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>
            <a:extLst>
              <a:ext uri="{FF2B5EF4-FFF2-40B4-BE49-F238E27FC236}">
                <a16:creationId xmlns="" xmlns:a16="http://schemas.microsoft.com/office/drawing/2014/main" id="{95C6E505-0A35-4D4A-B7D7-45F4A43DCDDD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561" r="25561"/>
          <a:stretch>
            <a:fillRect/>
          </a:stretch>
        </p:blipFill>
        <p:spPr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pic>
      <p:sp>
        <p:nvSpPr>
          <p:cNvPr id="8" name="Rectangle 7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/>
          <p:cNvSpPr/>
          <p:nvPr/>
        </p:nvSpPr>
        <p:spPr>
          <a:xfrm>
            <a:off x="5612983" y="2057830"/>
            <a:ext cx="430571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E24848"/>
              </a:buClr>
              <a:defRPr/>
            </a:pPr>
            <a:r>
              <a:rPr lang="x-none" sz="1400" noProof="1">
                <a:solidFill>
                  <a:schemeClr val="bg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Что такое Индустрия 4.0?</a:t>
            </a:r>
            <a:endParaRPr lang="en-US" sz="1400" noProof="1">
              <a:solidFill>
                <a:schemeClr val="bg1"/>
              </a:solidFill>
              <a:latin typeface="+mj-lt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5612983" y="2845544"/>
            <a:ext cx="430571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E24848"/>
              </a:buClr>
              <a:defRPr/>
            </a:pPr>
            <a:r>
              <a:rPr lang="x-none" sz="1400" noProof="1">
                <a:solidFill>
                  <a:schemeClr val="bg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Как</a:t>
            </a:r>
            <a:r>
              <a:rPr lang="uk-UA" sz="1400" noProof="1">
                <a:solidFill>
                  <a:schemeClr val="bg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и</a:t>
            </a:r>
            <a:r>
              <a:rPr lang="x-none" sz="1400" noProof="1">
                <a:solidFill>
                  <a:schemeClr val="bg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е </a:t>
            </a:r>
            <a:r>
              <a:rPr lang="uk-UA" sz="1400" noProof="1">
                <a:solidFill>
                  <a:schemeClr val="bg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р</a:t>
            </a:r>
            <a:r>
              <a:rPr lang="x-none" sz="1400" noProof="1">
                <a:solidFill>
                  <a:schemeClr val="bg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е</a:t>
            </a:r>
            <a:r>
              <a:rPr lang="uk-UA" sz="1400" noProof="1">
                <a:solidFill>
                  <a:schemeClr val="bg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ш</a:t>
            </a:r>
            <a:r>
              <a:rPr lang="x-none" sz="1400" noProof="1">
                <a:solidFill>
                  <a:schemeClr val="bg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е</a:t>
            </a:r>
            <a:r>
              <a:rPr lang="uk-UA" sz="1400" noProof="1">
                <a:solidFill>
                  <a:schemeClr val="bg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н</a:t>
            </a:r>
            <a:r>
              <a:rPr lang="x-none" sz="1400" noProof="1">
                <a:solidFill>
                  <a:schemeClr val="bg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и</a:t>
            </a:r>
            <a:r>
              <a:rPr lang="uk-UA" sz="1400" noProof="1">
                <a:solidFill>
                  <a:schemeClr val="bg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я</a:t>
            </a:r>
            <a:r>
              <a:rPr lang="x-none" sz="1400" noProof="1">
                <a:solidFill>
                  <a:schemeClr val="bg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uk-UA" sz="1400" noProof="1">
                <a:solidFill>
                  <a:schemeClr val="bg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п</a:t>
            </a:r>
            <a:r>
              <a:rPr lang="x-none" sz="1400" noProof="1">
                <a:solidFill>
                  <a:schemeClr val="bg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р</a:t>
            </a:r>
            <a:r>
              <a:rPr lang="uk-UA" sz="1400" noProof="1">
                <a:solidFill>
                  <a:schemeClr val="bg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е</a:t>
            </a:r>
            <a:r>
              <a:rPr lang="x-none" sz="1400" noProof="1">
                <a:solidFill>
                  <a:schemeClr val="bg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д</a:t>
            </a:r>
            <a:r>
              <a:rPr lang="uk-UA" sz="1400" noProof="1">
                <a:solidFill>
                  <a:schemeClr val="bg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л</a:t>
            </a:r>
            <a:r>
              <a:rPr lang="x-none" sz="1400" noProof="1">
                <a:solidFill>
                  <a:schemeClr val="bg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а</a:t>
            </a:r>
            <a:r>
              <a:rPr lang="uk-UA" sz="1400" noProof="1">
                <a:solidFill>
                  <a:schemeClr val="bg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г</a:t>
            </a:r>
            <a:r>
              <a:rPr lang="x-none" sz="1400" noProof="1">
                <a:solidFill>
                  <a:schemeClr val="bg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а</a:t>
            </a:r>
            <a:r>
              <a:rPr lang="uk-UA" sz="1400" noProof="1">
                <a:solidFill>
                  <a:schemeClr val="bg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е</a:t>
            </a:r>
            <a:r>
              <a:rPr lang="x-none" sz="1400" noProof="1">
                <a:solidFill>
                  <a:schemeClr val="bg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т ком</a:t>
            </a:r>
            <a:r>
              <a:rPr lang="uk-UA" sz="1400" noProof="1">
                <a:solidFill>
                  <a:schemeClr val="bg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п</a:t>
            </a:r>
            <a:r>
              <a:rPr lang="x-none" sz="1400" noProof="1">
                <a:solidFill>
                  <a:schemeClr val="bg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а</a:t>
            </a:r>
            <a:r>
              <a:rPr lang="uk-UA" sz="1400" noProof="1">
                <a:solidFill>
                  <a:schemeClr val="bg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н</a:t>
            </a:r>
            <a:r>
              <a:rPr lang="x-none" sz="1400" noProof="1">
                <a:solidFill>
                  <a:schemeClr val="bg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и</a:t>
            </a:r>
            <a:r>
              <a:rPr lang="uk-UA" sz="1400" noProof="1">
                <a:solidFill>
                  <a:schemeClr val="bg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я</a:t>
            </a:r>
            <a:r>
              <a:rPr lang="x-none" sz="1400" noProof="1">
                <a:solidFill>
                  <a:schemeClr val="bg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uk-UA" sz="1400" noProof="1">
                <a:solidFill>
                  <a:schemeClr val="bg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А</a:t>
            </a:r>
            <a:r>
              <a:rPr lang="x-none" sz="1400" noProof="1">
                <a:solidFill>
                  <a:schemeClr val="bg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д</a:t>
            </a:r>
            <a:r>
              <a:rPr lang="uk-UA" sz="1400" noProof="1">
                <a:solidFill>
                  <a:schemeClr val="bg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в</a:t>
            </a:r>
            <a:r>
              <a:rPr lang="x-none" sz="1400" noProof="1">
                <a:solidFill>
                  <a:schemeClr val="bg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а</a:t>
            </a:r>
            <a:r>
              <a:rPr lang="uk-UA" sz="1400" noProof="1">
                <a:solidFill>
                  <a:schemeClr val="bg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н</a:t>
            </a:r>
            <a:r>
              <a:rPr lang="x-none" sz="1400" noProof="1">
                <a:solidFill>
                  <a:schemeClr val="bg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т</a:t>
            </a:r>
            <a:r>
              <a:rPr lang="uk-UA" sz="1400" noProof="1">
                <a:solidFill>
                  <a:schemeClr val="bg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е</a:t>
            </a:r>
            <a:r>
              <a:rPr lang="x-none" sz="1400" noProof="1">
                <a:solidFill>
                  <a:schemeClr val="bg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к?</a:t>
            </a:r>
            <a:endParaRPr lang="en-US" sz="1400" noProof="1">
              <a:solidFill>
                <a:schemeClr val="bg1"/>
              </a:solidFill>
              <a:latin typeface="+mj-lt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5612983" y="3587874"/>
            <a:ext cx="430571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E24848"/>
              </a:buClr>
              <a:defRPr/>
            </a:pPr>
            <a:r>
              <a:rPr lang="uk-UA" sz="1400" noProof="1">
                <a:solidFill>
                  <a:schemeClr val="bg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Д</a:t>
            </a:r>
            <a:r>
              <a:rPr lang="x-none" sz="1400" noProof="1">
                <a:solidFill>
                  <a:schemeClr val="bg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л</a:t>
            </a:r>
            <a:r>
              <a:rPr lang="uk-UA" sz="1400" noProof="1">
                <a:solidFill>
                  <a:schemeClr val="bg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я</a:t>
            </a:r>
            <a:r>
              <a:rPr lang="x-none" sz="1400" noProof="1">
                <a:solidFill>
                  <a:schemeClr val="bg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uk-UA" sz="1400" noProof="1">
                <a:solidFill>
                  <a:schemeClr val="bg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ч</a:t>
            </a:r>
            <a:r>
              <a:rPr lang="x-none" sz="1400" noProof="1">
                <a:solidFill>
                  <a:schemeClr val="bg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е</a:t>
            </a:r>
            <a:r>
              <a:rPr lang="uk-UA" sz="1400" noProof="1">
                <a:solidFill>
                  <a:schemeClr val="bg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г</a:t>
            </a:r>
            <a:r>
              <a:rPr lang="x-none" sz="1400" noProof="1">
                <a:solidFill>
                  <a:schemeClr val="bg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о </a:t>
            </a:r>
            <a:r>
              <a:rPr lang="uk-UA" sz="1400" noProof="1">
                <a:solidFill>
                  <a:schemeClr val="bg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н</a:t>
            </a:r>
            <a:r>
              <a:rPr lang="x-none" sz="1400" noProof="1">
                <a:solidFill>
                  <a:schemeClr val="bg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у</a:t>
            </a:r>
            <a:r>
              <a:rPr lang="uk-UA" sz="1400" noProof="1">
                <a:solidFill>
                  <a:schemeClr val="bg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ж</a:t>
            </a:r>
            <a:r>
              <a:rPr lang="x-none" sz="1400" noProof="1">
                <a:solidFill>
                  <a:schemeClr val="bg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на платформа как </a:t>
            </a:r>
            <a:r>
              <a:rPr lang="uk-UA" sz="1400" noProof="1">
                <a:solidFill>
                  <a:schemeClr val="bg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с</a:t>
            </a:r>
            <a:r>
              <a:rPr lang="x-none" sz="1400" noProof="1">
                <a:solidFill>
                  <a:schemeClr val="bg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е</a:t>
            </a:r>
            <a:r>
              <a:rPr lang="uk-UA" sz="1400" noProof="1">
                <a:solidFill>
                  <a:schemeClr val="bg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р</a:t>
            </a:r>
            <a:r>
              <a:rPr lang="x-none" sz="1400" noProof="1">
                <a:solidFill>
                  <a:schemeClr val="bg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вис?</a:t>
            </a:r>
            <a:endParaRPr lang="en-US" sz="1400" noProof="1">
              <a:solidFill>
                <a:schemeClr val="bg1"/>
              </a:solidFill>
              <a:latin typeface="+mj-lt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5612983" y="4417561"/>
            <a:ext cx="430571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E24848"/>
              </a:buClr>
              <a:defRPr/>
            </a:pPr>
            <a:r>
              <a:rPr lang="uk-UA" sz="1400" noProof="1">
                <a:solidFill>
                  <a:schemeClr val="bg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К</a:t>
            </a:r>
            <a:r>
              <a:rPr lang="x-none" sz="1400" noProof="1">
                <a:solidFill>
                  <a:schemeClr val="bg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а</a:t>
            </a:r>
            <a:r>
              <a:rPr lang="uk-UA" sz="1400" noProof="1">
                <a:solidFill>
                  <a:schemeClr val="bg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к</a:t>
            </a:r>
            <a:r>
              <a:rPr lang="x-none" sz="1400" noProof="1">
                <a:solidFill>
                  <a:schemeClr val="bg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 получить выгоду от </a:t>
            </a:r>
            <a:r>
              <a:rPr lang="uk-UA" sz="1400" noProof="1">
                <a:solidFill>
                  <a:schemeClr val="bg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г</a:t>
            </a:r>
            <a:r>
              <a:rPr lang="x-none" sz="1400" noProof="1">
                <a:solidFill>
                  <a:schemeClr val="bg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о</a:t>
            </a:r>
            <a:r>
              <a:rPr lang="uk-UA" sz="1400" noProof="1">
                <a:solidFill>
                  <a:schemeClr val="bg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т</a:t>
            </a:r>
            <a:r>
              <a:rPr lang="x-none" sz="1400" noProof="1">
                <a:solidFill>
                  <a:schemeClr val="bg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о</a:t>
            </a:r>
            <a:r>
              <a:rPr lang="uk-UA" sz="1400" noProof="1">
                <a:solidFill>
                  <a:schemeClr val="bg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в</a:t>
            </a:r>
            <a:r>
              <a:rPr lang="x-none" sz="1400" noProof="1">
                <a:solidFill>
                  <a:schemeClr val="bg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ы</a:t>
            </a:r>
            <a:r>
              <a:rPr lang="uk-UA" sz="1400" noProof="1">
                <a:solidFill>
                  <a:schemeClr val="bg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х</a:t>
            </a:r>
            <a:r>
              <a:rPr lang="x-none" sz="1400" noProof="1">
                <a:solidFill>
                  <a:schemeClr val="bg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uk-UA" sz="1400" noProof="1">
                <a:solidFill>
                  <a:schemeClr val="bg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р</a:t>
            </a:r>
            <a:r>
              <a:rPr lang="x-none" sz="1400" noProof="1">
                <a:solidFill>
                  <a:schemeClr val="bg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е</a:t>
            </a:r>
            <a:r>
              <a:rPr lang="uk-UA" sz="1400" noProof="1">
                <a:solidFill>
                  <a:schemeClr val="bg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ш</a:t>
            </a:r>
            <a:r>
              <a:rPr lang="x-none" sz="1400" noProof="1">
                <a:solidFill>
                  <a:schemeClr val="bg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е</a:t>
            </a:r>
            <a:r>
              <a:rPr lang="uk-UA" sz="1400" noProof="1">
                <a:solidFill>
                  <a:schemeClr val="bg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н</a:t>
            </a:r>
            <a:r>
              <a:rPr lang="x-none" sz="1400" noProof="1">
                <a:solidFill>
                  <a:schemeClr val="bg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и</a:t>
            </a:r>
            <a:r>
              <a:rPr lang="uk-UA" sz="1400" noProof="1">
                <a:solidFill>
                  <a:schemeClr val="bg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й</a:t>
            </a:r>
            <a:r>
              <a:rPr lang="x-none" sz="1400" noProof="1">
                <a:solidFill>
                  <a:schemeClr val="bg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?</a:t>
            </a:r>
            <a:endParaRPr lang="en-US" sz="1400" noProof="1">
              <a:solidFill>
                <a:schemeClr val="bg1"/>
              </a:solidFill>
              <a:latin typeface="+mj-lt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5018111" y="2012045"/>
            <a:ext cx="385267" cy="2746749"/>
            <a:chOff x="5018111" y="2012045"/>
            <a:chExt cx="385267" cy="2746749"/>
          </a:xfrm>
        </p:grpSpPr>
        <p:grpSp>
          <p:nvGrpSpPr>
            <p:cNvPr id="12" name="Group 11"/>
            <p:cNvGrpSpPr/>
            <p:nvPr/>
          </p:nvGrpSpPr>
          <p:grpSpPr>
            <a:xfrm>
              <a:off x="5018111" y="2012045"/>
              <a:ext cx="385267" cy="383350"/>
              <a:chOff x="10687827" y="4481265"/>
              <a:chExt cx="237233" cy="236053"/>
            </a:xfrm>
            <a:solidFill>
              <a:srgbClr val="F2584E"/>
            </a:solidFill>
          </p:grpSpPr>
          <p:sp>
            <p:nvSpPr>
              <p:cNvPr id="14" name="Freeform 1071"/>
              <p:cNvSpPr>
                <a:spLocks noEditPoints="1"/>
              </p:cNvSpPr>
              <p:nvPr/>
            </p:nvSpPr>
            <p:spPr bwMode="auto">
              <a:xfrm>
                <a:off x="10687827" y="4481265"/>
                <a:ext cx="237233" cy="236053"/>
              </a:xfrm>
              <a:custGeom>
                <a:avLst/>
                <a:gdLst>
                  <a:gd name="T0" fmla="*/ 997 w 1003"/>
                  <a:gd name="T1" fmla="*/ 576 h 1000"/>
                  <a:gd name="T2" fmla="*/ 963 w 1003"/>
                  <a:gd name="T3" fmla="*/ 694 h 1000"/>
                  <a:gd name="T4" fmla="*/ 903 w 1003"/>
                  <a:gd name="T5" fmla="*/ 799 h 1000"/>
                  <a:gd name="T6" fmla="*/ 820 w 1003"/>
                  <a:gd name="T7" fmla="*/ 886 h 1000"/>
                  <a:gd name="T8" fmla="*/ 719 w 1003"/>
                  <a:gd name="T9" fmla="*/ 950 h 1000"/>
                  <a:gd name="T10" fmla="*/ 602 w 1003"/>
                  <a:gd name="T11" fmla="*/ 990 h 1000"/>
                  <a:gd name="T12" fmla="*/ 501 w 1003"/>
                  <a:gd name="T13" fmla="*/ 1000 h 1000"/>
                  <a:gd name="T14" fmla="*/ 376 w 1003"/>
                  <a:gd name="T15" fmla="*/ 984 h 1000"/>
                  <a:gd name="T16" fmla="*/ 262 w 1003"/>
                  <a:gd name="T17" fmla="*/ 939 h 1000"/>
                  <a:gd name="T18" fmla="*/ 164 w 1003"/>
                  <a:gd name="T19" fmla="*/ 870 h 1000"/>
                  <a:gd name="T20" fmla="*/ 85 w 1003"/>
                  <a:gd name="T21" fmla="*/ 779 h 1000"/>
                  <a:gd name="T22" fmla="*/ 30 w 1003"/>
                  <a:gd name="T23" fmla="*/ 672 h 1000"/>
                  <a:gd name="T24" fmla="*/ 3 w 1003"/>
                  <a:gd name="T25" fmla="*/ 551 h 1000"/>
                  <a:gd name="T26" fmla="*/ 3 w 1003"/>
                  <a:gd name="T27" fmla="*/ 449 h 1000"/>
                  <a:gd name="T28" fmla="*/ 30 w 1003"/>
                  <a:gd name="T29" fmla="*/ 329 h 1000"/>
                  <a:gd name="T30" fmla="*/ 85 w 1003"/>
                  <a:gd name="T31" fmla="*/ 221 h 1000"/>
                  <a:gd name="T32" fmla="*/ 164 w 1003"/>
                  <a:gd name="T33" fmla="*/ 130 h 1000"/>
                  <a:gd name="T34" fmla="*/ 262 w 1003"/>
                  <a:gd name="T35" fmla="*/ 61 h 1000"/>
                  <a:gd name="T36" fmla="*/ 376 w 1003"/>
                  <a:gd name="T37" fmla="*/ 17 h 1000"/>
                  <a:gd name="T38" fmla="*/ 501 w 1003"/>
                  <a:gd name="T39" fmla="*/ 0 h 1000"/>
                  <a:gd name="T40" fmla="*/ 602 w 1003"/>
                  <a:gd name="T41" fmla="*/ 10 h 1000"/>
                  <a:gd name="T42" fmla="*/ 719 w 1003"/>
                  <a:gd name="T43" fmla="*/ 50 h 1000"/>
                  <a:gd name="T44" fmla="*/ 820 w 1003"/>
                  <a:gd name="T45" fmla="*/ 115 h 1000"/>
                  <a:gd name="T46" fmla="*/ 903 w 1003"/>
                  <a:gd name="T47" fmla="*/ 201 h 1000"/>
                  <a:gd name="T48" fmla="*/ 963 w 1003"/>
                  <a:gd name="T49" fmla="*/ 305 h 1000"/>
                  <a:gd name="T50" fmla="*/ 997 w 1003"/>
                  <a:gd name="T51" fmla="*/ 424 h 1000"/>
                  <a:gd name="T52" fmla="*/ 511 w 1003"/>
                  <a:gd name="T53" fmla="*/ 111 h 1000"/>
                  <a:gd name="T54" fmla="*/ 433 w 1003"/>
                  <a:gd name="T55" fmla="*/ 119 h 1000"/>
                  <a:gd name="T56" fmla="*/ 342 w 1003"/>
                  <a:gd name="T57" fmla="*/ 150 h 1000"/>
                  <a:gd name="T58" fmla="*/ 263 w 1003"/>
                  <a:gd name="T59" fmla="*/ 200 h 1000"/>
                  <a:gd name="T60" fmla="*/ 198 w 1003"/>
                  <a:gd name="T61" fmla="*/ 268 h 1000"/>
                  <a:gd name="T62" fmla="*/ 151 w 1003"/>
                  <a:gd name="T63" fmla="*/ 348 h 1000"/>
                  <a:gd name="T64" fmla="*/ 126 w 1003"/>
                  <a:gd name="T65" fmla="*/ 441 h 1000"/>
                  <a:gd name="T66" fmla="*/ 121 w 1003"/>
                  <a:gd name="T67" fmla="*/ 520 h 1000"/>
                  <a:gd name="T68" fmla="*/ 138 w 1003"/>
                  <a:gd name="T69" fmla="*/ 616 h 1000"/>
                  <a:gd name="T70" fmla="*/ 178 w 1003"/>
                  <a:gd name="T71" fmla="*/ 702 h 1000"/>
                  <a:gd name="T72" fmla="*/ 235 w 1003"/>
                  <a:gd name="T73" fmla="*/ 775 h 1000"/>
                  <a:gd name="T74" fmla="*/ 309 w 1003"/>
                  <a:gd name="T75" fmla="*/ 832 h 1000"/>
                  <a:gd name="T76" fmla="*/ 395 w 1003"/>
                  <a:gd name="T77" fmla="*/ 872 h 1000"/>
                  <a:gd name="T78" fmla="*/ 491 w 1003"/>
                  <a:gd name="T79" fmla="*/ 888 h 1000"/>
                  <a:gd name="T80" fmla="*/ 570 w 1003"/>
                  <a:gd name="T81" fmla="*/ 884 h 1000"/>
                  <a:gd name="T82" fmla="*/ 663 w 1003"/>
                  <a:gd name="T83" fmla="*/ 859 h 1000"/>
                  <a:gd name="T84" fmla="*/ 744 w 1003"/>
                  <a:gd name="T85" fmla="*/ 811 h 1000"/>
                  <a:gd name="T86" fmla="*/ 813 w 1003"/>
                  <a:gd name="T87" fmla="*/ 747 h 1000"/>
                  <a:gd name="T88" fmla="*/ 863 w 1003"/>
                  <a:gd name="T89" fmla="*/ 669 h 1000"/>
                  <a:gd name="T90" fmla="*/ 893 w 1003"/>
                  <a:gd name="T91" fmla="*/ 579 h 1000"/>
                  <a:gd name="T92" fmla="*/ 902 w 1003"/>
                  <a:gd name="T93" fmla="*/ 500 h 1000"/>
                  <a:gd name="T94" fmla="*/ 889 w 1003"/>
                  <a:gd name="T95" fmla="*/ 403 h 1000"/>
                  <a:gd name="T96" fmla="*/ 854 w 1003"/>
                  <a:gd name="T97" fmla="*/ 315 h 1000"/>
                  <a:gd name="T98" fmla="*/ 799 w 1003"/>
                  <a:gd name="T99" fmla="*/ 239 h 1000"/>
                  <a:gd name="T100" fmla="*/ 729 w 1003"/>
                  <a:gd name="T101" fmla="*/ 178 h 1000"/>
                  <a:gd name="T102" fmla="*/ 645 w 1003"/>
                  <a:gd name="T103" fmla="*/ 135 h 1000"/>
                  <a:gd name="T104" fmla="*/ 551 w 1003"/>
                  <a:gd name="T105" fmla="*/ 114 h 10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003" h="1000">
                    <a:moveTo>
                      <a:pt x="1003" y="500"/>
                    </a:moveTo>
                    <a:lnTo>
                      <a:pt x="1003" y="500"/>
                    </a:lnTo>
                    <a:lnTo>
                      <a:pt x="1002" y="526"/>
                    </a:lnTo>
                    <a:lnTo>
                      <a:pt x="1001" y="551"/>
                    </a:lnTo>
                    <a:lnTo>
                      <a:pt x="997" y="576"/>
                    </a:lnTo>
                    <a:lnTo>
                      <a:pt x="993" y="601"/>
                    </a:lnTo>
                    <a:lnTo>
                      <a:pt x="988" y="625"/>
                    </a:lnTo>
                    <a:lnTo>
                      <a:pt x="980" y="649"/>
                    </a:lnTo>
                    <a:lnTo>
                      <a:pt x="972" y="672"/>
                    </a:lnTo>
                    <a:lnTo>
                      <a:pt x="963" y="694"/>
                    </a:lnTo>
                    <a:lnTo>
                      <a:pt x="953" y="716"/>
                    </a:lnTo>
                    <a:lnTo>
                      <a:pt x="942" y="738"/>
                    </a:lnTo>
                    <a:lnTo>
                      <a:pt x="930" y="759"/>
                    </a:lnTo>
                    <a:lnTo>
                      <a:pt x="917" y="779"/>
                    </a:lnTo>
                    <a:lnTo>
                      <a:pt x="903" y="799"/>
                    </a:lnTo>
                    <a:lnTo>
                      <a:pt x="889" y="818"/>
                    </a:lnTo>
                    <a:lnTo>
                      <a:pt x="873" y="837"/>
                    </a:lnTo>
                    <a:lnTo>
                      <a:pt x="856" y="853"/>
                    </a:lnTo>
                    <a:lnTo>
                      <a:pt x="839" y="870"/>
                    </a:lnTo>
                    <a:lnTo>
                      <a:pt x="820" y="886"/>
                    </a:lnTo>
                    <a:lnTo>
                      <a:pt x="802" y="900"/>
                    </a:lnTo>
                    <a:lnTo>
                      <a:pt x="782" y="915"/>
                    </a:lnTo>
                    <a:lnTo>
                      <a:pt x="762" y="928"/>
                    </a:lnTo>
                    <a:lnTo>
                      <a:pt x="740" y="939"/>
                    </a:lnTo>
                    <a:lnTo>
                      <a:pt x="719" y="950"/>
                    </a:lnTo>
                    <a:lnTo>
                      <a:pt x="697" y="961"/>
                    </a:lnTo>
                    <a:lnTo>
                      <a:pt x="674" y="970"/>
                    </a:lnTo>
                    <a:lnTo>
                      <a:pt x="651" y="978"/>
                    </a:lnTo>
                    <a:lnTo>
                      <a:pt x="627" y="984"/>
                    </a:lnTo>
                    <a:lnTo>
                      <a:pt x="602" y="990"/>
                    </a:lnTo>
                    <a:lnTo>
                      <a:pt x="578" y="994"/>
                    </a:lnTo>
                    <a:lnTo>
                      <a:pt x="553" y="997"/>
                    </a:lnTo>
                    <a:lnTo>
                      <a:pt x="528" y="1000"/>
                    </a:lnTo>
                    <a:lnTo>
                      <a:pt x="501" y="1000"/>
                    </a:lnTo>
                    <a:lnTo>
                      <a:pt x="501" y="1000"/>
                    </a:lnTo>
                    <a:lnTo>
                      <a:pt x="476" y="1000"/>
                    </a:lnTo>
                    <a:lnTo>
                      <a:pt x="450" y="997"/>
                    </a:lnTo>
                    <a:lnTo>
                      <a:pt x="425" y="994"/>
                    </a:lnTo>
                    <a:lnTo>
                      <a:pt x="400" y="990"/>
                    </a:lnTo>
                    <a:lnTo>
                      <a:pt x="376" y="984"/>
                    </a:lnTo>
                    <a:lnTo>
                      <a:pt x="353" y="978"/>
                    </a:lnTo>
                    <a:lnTo>
                      <a:pt x="329" y="970"/>
                    </a:lnTo>
                    <a:lnTo>
                      <a:pt x="306" y="961"/>
                    </a:lnTo>
                    <a:lnTo>
                      <a:pt x="284" y="950"/>
                    </a:lnTo>
                    <a:lnTo>
                      <a:pt x="262" y="939"/>
                    </a:lnTo>
                    <a:lnTo>
                      <a:pt x="241" y="928"/>
                    </a:lnTo>
                    <a:lnTo>
                      <a:pt x="220" y="915"/>
                    </a:lnTo>
                    <a:lnTo>
                      <a:pt x="202" y="900"/>
                    </a:lnTo>
                    <a:lnTo>
                      <a:pt x="182" y="886"/>
                    </a:lnTo>
                    <a:lnTo>
                      <a:pt x="164" y="870"/>
                    </a:lnTo>
                    <a:lnTo>
                      <a:pt x="147" y="853"/>
                    </a:lnTo>
                    <a:lnTo>
                      <a:pt x="130" y="837"/>
                    </a:lnTo>
                    <a:lnTo>
                      <a:pt x="115" y="818"/>
                    </a:lnTo>
                    <a:lnTo>
                      <a:pt x="99" y="799"/>
                    </a:lnTo>
                    <a:lnTo>
                      <a:pt x="85" y="779"/>
                    </a:lnTo>
                    <a:lnTo>
                      <a:pt x="72" y="759"/>
                    </a:lnTo>
                    <a:lnTo>
                      <a:pt x="61" y="738"/>
                    </a:lnTo>
                    <a:lnTo>
                      <a:pt x="49" y="716"/>
                    </a:lnTo>
                    <a:lnTo>
                      <a:pt x="39" y="694"/>
                    </a:lnTo>
                    <a:lnTo>
                      <a:pt x="30" y="672"/>
                    </a:lnTo>
                    <a:lnTo>
                      <a:pt x="22" y="649"/>
                    </a:lnTo>
                    <a:lnTo>
                      <a:pt x="16" y="625"/>
                    </a:lnTo>
                    <a:lnTo>
                      <a:pt x="10" y="601"/>
                    </a:lnTo>
                    <a:lnTo>
                      <a:pt x="6" y="576"/>
                    </a:lnTo>
                    <a:lnTo>
                      <a:pt x="3" y="551"/>
                    </a:lnTo>
                    <a:lnTo>
                      <a:pt x="0" y="526"/>
                    </a:lnTo>
                    <a:lnTo>
                      <a:pt x="0" y="500"/>
                    </a:lnTo>
                    <a:lnTo>
                      <a:pt x="0" y="500"/>
                    </a:lnTo>
                    <a:lnTo>
                      <a:pt x="0" y="474"/>
                    </a:lnTo>
                    <a:lnTo>
                      <a:pt x="3" y="449"/>
                    </a:lnTo>
                    <a:lnTo>
                      <a:pt x="6" y="424"/>
                    </a:lnTo>
                    <a:lnTo>
                      <a:pt x="10" y="399"/>
                    </a:lnTo>
                    <a:lnTo>
                      <a:pt x="16" y="375"/>
                    </a:lnTo>
                    <a:lnTo>
                      <a:pt x="22" y="352"/>
                    </a:lnTo>
                    <a:lnTo>
                      <a:pt x="30" y="329"/>
                    </a:lnTo>
                    <a:lnTo>
                      <a:pt x="39" y="305"/>
                    </a:lnTo>
                    <a:lnTo>
                      <a:pt x="49" y="283"/>
                    </a:lnTo>
                    <a:lnTo>
                      <a:pt x="61" y="262"/>
                    </a:lnTo>
                    <a:lnTo>
                      <a:pt x="72" y="241"/>
                    </a:lnTo>
                    <a:lnTo>
                      <a:pt x="85" y="221"/>
                    </a:lnTo>
                    <a:lnTo>
                      <a:pt x="99" y="201"/>
                    </a:lnTo>
                    <a:lnTo>
                      <a:pt x="115" y="182"/>
                    </a:lnTo>
                    <a:lnTo>
                      <a:pt x="130" y="164"/>
                    </a:lnTo>
                    <a:lnTo>
                      <a:pt x="147" y="147"/>
                    </a:lnTo>
                    <a:lnTo>
                      <a:pt x="164" y="130"/>
                    </a:lnTo>
                    <a:lnTo>
                      <a:pt x="182" y="115"/>
                    </a:lnTo>
                    <a:lnTo>
                      <a:pt x="202" y="99"/>
                    </a:lnTo>
                    <a:lnTo>
                      <a:pt x="220" y="86"/>
                    </a:lnTo>
                    <a:lnTo>
                      <a:pt x="241" y="73"/>
                    </a:lnTo>
                    <a:lnTo>
                      <a:pt x="262" y="61"/>
                    </a:lnTo>
                    <a:lnTo>
                      <a:pt x="284" y="50"/>
                    </a:lnTo>
                    <a:lnTo>
                      <a:pt x="306" y="40"/>
                    </a:lnTo>
                    <a:lnTo>
                      <a:pt x="329" y="31"/>
                    </a:lnTo>
                    <a:lnTo>
                      <a:pt x="353" y="23"/>
                    </a:lnTo>
                    <a:lnTo>
                      <a:pt x="376" y="17"/>
                    </a:lnTo>
                    <a:lnTo>
                      <a:pt x="400" y="10"/>
                    </a:lnTo>
                    <a:lnTo>
                      <a:pt x="425" y="6"/>
                    </a:lnTo>
                    <a:lnTo>
                      <a:pt x="450" y="3"/>
                    </a:lnTo>
                    <a:lnTo>
                      <a:pt x="476" y="1"/>
                    </a:lnTo>
                    <a:lnTo>
                      <a:pt x="501" y="0"/>
                    </a:lnTo>
                    <a:lnTo>
                      <a:pt x="501" y="0"/>
                    </a:lnTo>
                    <a:lnTo>
                      <a:pt x="528" y="1"/>
                    </a:lnTo>
                    <a:lnTo>
                      <a:pt x="553" y="3"/>
                    </a:lnTo>
                    <a:lnTo>
                      <a:pt x="578" y="6"/>
                    </a:lnTo>
                    <a:lnTo>
                      <a:pt x="602" y="10"/>
                    </a:lnTo>
                    <a:lnTo>
                      <a:pt x="627" y="17"/>
                    </a:lnTo>
                    <a:lnTo>
                      <a:pt x="651" y="23"/>
                    </a:lnTo>
                    <a:lnTo>
                      <a:pt x="674" y="31"/>
                    </a:lnTo>
                    <a:lnTo>
                      <a:pt x="697" y="40"/>
                    </a:lnTo>
                    <a:lnTo>
                      <a:pt x="719" y="50"/>
                    </a:lnTo>
                    <a:lnTo>
                      <a:pt x="740" y="61"/>
                    </a:lnTo>
                    <a:lnTo>
                      <a:pt x="762" y="73"/>
                    </a:lnTo>
                    <a:lnTo>
                      <a:pt x="782" y="86"/>
                    </a:lnTo>
                    <a:lnTo>
                      <a:pt x="802" y="99"/>
                    </a:lnTo>
                    <a:lnTo>
                      <a:pt x="820" y="115"/>
                    </a:lnTo>
                    <a:lnTo>
                      <a:pt x="839" y="130"/>
                    </a:lnTo>
                    <a:lnTo>
                      <a:pt x="856" y="147"/>
                    </a:lnTo>
                    <a:lnTo>
                      <a:pt x="873" y="164"/>
                    </a:lnTo>
                    <a:lnTo>
                      <a:pt x="889" y="182"/>
                    </a:lnTo>
                    <a:lnTo>
                      <a:pt x="903" y="201"/>
                    </a:lnTo>
                    <a:lnTo>
                      <a:pt x="917" y="221"/>
                    </a:lnTo>
                    <a:lnTo>
                      <a:pt x="930" y="241"/>
                    </a:lnTo>
                    <a:lnTo>
                      <a:pt x="942" y="262"/>
                    </a:lnTo>
                    <a:lnTo>
                      <a:pt x="953" y="283"/>
                    </a:lnTo>
                    <a:lnTo>
                      <a:pt x="963" y="305"/>
                    </a:lnTo>
                    <a:lnTo>
                      <a:pt x="972" y="329"/>
                    </a:lnTo>
                    <a:lnTo>
                      <a:pt x="980" y="352"/>
                    </a:lnTo>
                    <a:lnTo>
                      <a:pt x="988" y="375"/>
                    </a:lnTo>
                    <a:lnTo>
                      <a:pt x="993" y="399"/>
                    </a:lnTo>
                    <a:lnTo>
                      <a:pt x="997" y="424"/>
                    </a:lnTo>
                    <a:lnTo>
                      <a:pt x="1001" y="449"/>
                    </a:lnTo>
                    <a:lnTo>
                      <a:pt x="1002" y="474"/>
                    </a:lnTo>
                    <a:lnTo>
                      <a:pt x="1003" y="500"/>
                    </a:lnTo>
                    <a:lnTo>
                      <a:pt x="1003" y="500"/>
                    </a:lnTo>
                    <a:close/>
                    <a:moveTo>
                      <a:pt x="511" y="111"/>
                    </a:moveTo>
                    <a:lnTo>
                      <a:pt x="511" y="111"/>
                    </a:lnTo>
                    <a:lnTo>
                      <a:pt x="491" y="111"/>
                    </a:lnTo>
                    <a:lnTo>
                      <a:pt x="471" y="114"/>
                    </a:lnTo>
                    <a:lnTo>
                      <a:pt x="452" y="116"/>
                    </a:lnTo>
                    <a:lnTo>
                      <a:pt x="433" y="119"/>
                    </a:lnTo>
                    <a:lnTo>
                      <a:pt x="413" y="124"/>
                    </a:lnTo>
                    <a:lnTo>
                      <a:pt x="395" y="129"/>
                    </a:lnTo>
                    <a:lnTo>
                      <a:pt x="377" y="135"/>
                    </a:lnTo>
                    <a:lnTo>
                      <a:pt x="359" y="142"/>
                    </a:lnTo>
                    <a:lnTo>
                      <a:pt x="342" y="150"/>
                    </a:lnTo>
                    <a:lnTo>
                      <a:pt x="325" y="159"/>
                    </a:lnTo>
                    <a:lnTo>
                      <a:pt x="309" y="168"/>
                    </a:lnTo>
                    <a:lnTo>
                      <a:pt x="293" y="178"/>
                    </a:lnTo>
                    <a:lnTo>
                      <a:pt x="278" y="189"/>
                    </a:lnTo>
                    <a:lnTo>
                      <a:pt x="263" y="200"/>
                    </a:lnTo>
                    <a:lnTo>
                      <a:pt x="249" y="213"/>
                    </a:lnTo>
                    <a:lnTo>
                      <a:pt x="235" y="225"/>
                    </a:lnTo>
                    <a:lnTo>
                      <a:pt x="223" y="239"/>
                    </a:lnTo>
                    <a:lnTo>
                      <a:pt x="209" y="252"/>
                    </a:lnTo>
                    <a:lnTo>
                      <a:pt x="198" y="268"/>
                    </a:lnTo>
                    <a:lnTo>
                      <a:pt x="187" y="282"/>
                    </a:lnTo>
                    <a:lnTo>
                      <a:pt x="178" y="299"/>
                    </a:lnTo>
                    <a:lnTo>
                      <a:pt x="168" y="315"/>
                    </a:lnTo>
                    <a:lnTo>
                      <a:pt x="159" y="332"/>
                    </a:lnTo>
                    <a:lnTo>
                      <a:pt x="151" y="348"/>
                    </a:lnTo>
                    <a:lnTo>
                      <a:pt x="145" y="366"/>
                    </a:lnTo>
                    <a:lnTo>
                      <a:pt x="138" y="385"/>
                    </a:lnTo>
                    <a:lnTo>
                      <a:pt x="134" y="403"/>
                    </a:lnTo>
                    <a:lnTo>
                      <a:pt x="129" y="422"/>
                    </a:lnTo>
                    <a:lnTo>
                      <a:pt x="126" y="441"/>
                    </a:lnTo>
                    <a:lnTo>
                      <a:pt x="123" y="461"/>
                    </a:lnTo>
                    <a:lnTo>
                      <a:pt x="121" y="481"/>
                    </a:lnTo>
                    <a:lnTo>
                      <a:pt x="121" y="500"/>
                    </a:lnTo>
                    <a:lnTo>
                      <a:pt x="121" y="500"/>
                    </a:lnTo>
                    <a:lnTo>
                      <a:pt x="121" y="520"/>
                    </a:lnTo>
                    <a:lnTo>
                      <a:pt x="123" y="540"/>
                    </a:lnTo>
                    <a:lnTo>
                      <a:pt x="126" y="559"/>
                    </a:lnTo>
                    <a:lnTo>
                      <a:pt x="129" y="579"/>
                    </a:lnTo>
                    <a:lnTo>
                      <a:pt x="134" y="597"/>
                    </a:lnTo>
                    <a:lnTo>
                      <a:pt x="138" y="616"/>
                    </a:lnTo>
                    <a:lnTo>
                      <a:pt x="145" y="634"/>
                    </a:lnTo>
                    <a:lnTo>
                      <a:pt x="151" y="651"/>
                    </a:lnTo>
                    <a:lnTo>
                      <a:pt x="159" y="669"/>
                    </a:lnTo>
                    <a:lnTo>
                      <a:pt x="168" y="686"/>
                    </a:lnTo>
                    <a:lnTo>
                      <a:pt x="178" y="702"/>
                    </a:lnTo>
                    <a:lnTo>
                      <a:pt x="187" y="718"/>
                    </a:lnTo>
                    <a:lnTo>
                      <a:pt x="198" y="733"/>
                    </a:lnTo>
                    <a:lnTo>
                      <a:pt x="209" y="747"/>
                    </a:lnTo>
                    <a:lnTo>
                      <a:pt x="223" y="762"/>
                    </a:lnTo>
                    <a:lnTo>
                      <a:pt x="235" y="775"/>
                    </a:lnTo>
                    <a:lnTo>
                      <a:pt x="249" y="788"/>
                    </a:lnTo>
                    <a:lnTo>
                      <a:pt x="263" y="800"/>
                    </a:lnTo>
                    <a:lnTo>
                      <a:pt x="278" y="811"/>
                    </a:lnTo>
                    <a:lnTo>
                      <a:pt x="293" y="822"/>
                    </a:lnTo>
                    <a:lnTo>
                      <a:pt x="309" y="832"/>
                    </a:lnTo>
                    <a:lnTo>
                      <a:pt x="325" y="842"/>
                    </a:lnTo>
                    <a:lnTo>
                      <a:pt x="342" y="851"/>
                    </a:lnTo>
                    <a:lnTo>
                      <a:pt x="359" y="859"/>
                    </a:lnTo>
                    <a:lnTo>
                      <a:pt x="377" y="865"/>
                    </a:lnTo>
                    <a:lnTo>
                      <a:pt x="395" y="872"/>
                    </a:lnTo>
                    <a:lnTo>
                      <a:pt x="413" y="876"/>
                    </a:lnTo>
                    <a:lnTo>
                      <a:pt x="433" y="881"/>
                    </a:lnTo>
                    <a:lnTo>
                      <a:pt x="452" y="884"/>
                    </a:lnTo>
                    <a:lnTo>
                      <a:pt x="471" y="887"/>
                    </a:lnTo>
                    <a:lnTo>
                      <a:pt x="491" y="888"/>
                    </a:lnTo>
                    <a:lnTo>
                      <a:pt x="511" y="888"/>
                    </a:lnTo>
                    <a:lnTo>
                      <a:pt x="511" y="888"/>
                    </a:lnTo>
                    <a:lnTo>
                      <a:pt x="531" y="888"/>
                    </a:lnTo>
                    <a:lnTo>
                      <a:pt x="551" y="887"/>
                    </a:lnTo>
                    <a:lnTo>
                      <a:pt x="570" y="884"/>
                    </a:lnTo>
                    <a:lnTo>
                      <a:pt x="589" y="881"/>
                    </a:lnTo>
                    <a:lnTo>
                      <a:pt x="609" y="876"/>
                    </a:lnTo>
                    <a:lnTo>
                      <a:pt x="627" y="872"/>
                    </a:lnTo>
                    <a:lnTo>
                      <a:pt x="645" y="865"/>
                    </a:lnTo>
                    <a:lnTo>
                      <a:pt x="663" y="859"/>
                    </a:lnTo>
                    <a:lnTo>
                      <a:pt x="681" y="851"/>
                    </a:lnTo>
                    <a:lnTo>
                      <a:pt x="697" y="842"/>
                    </a:lnTo>
                    <a:lnTo>
                      <a:pt x="714" y="832"/>
                    </a:lnTo>
                    <a:lnTo>
                      <a:pt x="729" y="822"/>
                    </a:lnTo>
                    <a:lnTo>
                      <a:pt x="744" y="811"/>
                    </a:lnTo>
                    <a:lnTo>
                      <a:pt x="760" y="800"/>
                    </a:lnTo>
                    <a:lnTo>
                      <a:pt x="773" y="788"/>
                    </a:lnTo>
                    <a:lnTo>
                      <a:pt x="787" y="775"/>
                    </a:lnTo>
                    <a:lnTo>
                      <a:pt x="799" y="762"/>
                    </a:lnTo>
                    <a:lnTo>
                      <a:pt x="813" y="747"/>
                    </a:lnTo>
                    <a:lnTo>
                      <a:pt x="824" y="733"/>
                    </a:lnTo>
                    <a:lnTo>
                      <a:pt x="835" y="718"/>
                    </a:lnTo>
                    <a:lnTo>
                      <a:pt x="845" y="702"/>
                    </a:lnTo>
                    <a:lnTo>
                      <a:pt x="854" y="686"/>
                    </a:lnTo>
                    <a:lnTo>
                      <a:pt x="863" y="669"/>
                    </a:lnTo>
                    <a:lnTo>
                      <a:pt x="871" y="651"/>
                    </a:lnTo>
                    <a:lnTo>
                      <a:pt x="878" y="634"/>
                    </a:lnTo>
                    <a:lnTo>
                      <a:pt x="884" y="616"/>
                    </a:lnTo>
                    <a:lnTo>
                      <a:pt x="889" y="597"/>
                    </a:lnTo>
                    <a:lnTo>
                      <a:pt x="893" y="579"/>
                    </a:lnTo>
                    <a:lnTo>
                      <a:pt x="896" y="559"/>
                    </a:lnTo>
                    <a:lnTo>
                      <a:pt x="900" y="540"/>
                    </a:lnTo>
                    <a:lnTo>
                      <a:pt x="901" y="520"/>
                    </a:lnTo>
                    <a:lnTo>
                      <a:pt x="902" y="500"/>
                    </a:lnTo>
                    <a:lnTo>
                      <a:pt x="902" y="500"/>
                    </a:lnTo>
                    <a:lnTo>
                      <a:pt x="901" y="481"/>
                    </a:lnTo>
                    <a:lnTo>
                      <a:pt x="900" y="461"/>
                    </a:lnTo>
                    <a:lnTo>
                      <a:pt x="896" y="441"/>
                    </a:lnTo>
                    <a:lnTo>
                      <a:pt x="893" y="422"/>
                    </a:lnTo>
                    <a:lnTo>
                      <a:pt x="889" y="403"/>
                    </a:lnTo>
                    <a:lnTo>
                      <a:pt x="884" y="385"/>
                    </a:lnTo>
                    <a:lnTo>
                      <a:pt x="878" y="366"/>
                    </a:lnTo>
                    <a:lnTo>
                      <a:pt x="871" y="348"/>
                    </a:lnTo>
                    <a:lnTo>
                      <a:pt x="863" y="332"/>
                    </a:lnTo>
                    <a:lnTo>
                      <a:pt x="854" y="315"/>
                    </a:lnTo>
                    <a:lnTo>
                      <a:pt x="845" y="299"/>
                    </a:lnTo>
                    <a:lnTo>
                      <a:pt x="835" y="282"/>
                    </a:lnTo>
                    <a:lnTo>
                      <a:pt x="824" y="268"/>
                    </a:lnTo>
                    <a:lnTo>
                      <a:pt x="813" y="252"/>
                    </a:lnTo>
                    <a:lnTo>
                      <a:pt x="799" y="239"/>
                    </a:lnTo>
                    <a:lnTo>
                      <a:pt x="787" y="225"/>
                    </a:lnTo>
                    <a:lnTo>
                      <a:pt x="773" y="213"/>
                    </a:lnTo>
                    <a:lnTo>
                      <a:pt x="760" y="200"/>
                    </a:lnTo>
                    <a:lnTo>
                      <a:pt x="744" y="189"/>
                    </a:lnTo>
                    <a:lnTo>
                      <a:pt x="729" y="178"/>
                    </a:lnTo>
                    <a:lnTo>
                      <a:pt x="714" y="168"/>
                    </a:lnTo>
                    <a:lnTo>
                      <a:pt x="697" y="159"/>
                    </a:lnTo>
                    <a:lnTo>
                      <a:pt x="681" y="150"/>
                    </a:lnTo>
                    <a:lnTo>
                      <a:pt x="663" y="142"/>
                    </a:lnTo>
                    <a:lnTo>
                      <a:pt x="645" y="135"/>
                    </a:lnTo>
                    <a:lnTo>
                      <a:pt x="627" y="129"/>
                    </a:lnTo>
                    <a:lnTo>
                      <a:pt x="609" y="124"/>
                    </a:lnTo>
                    <a:lnTo>
                      <a:pt x="589" y="119"/>
                    </a:lnTo>
                    <a:lnTo>
                      <a:pt x="570" y="116"/>
                    </a:lnTo>
                    <a:lnTo>
                      <a:pt x="551" y="114"/>
                    </a:lnTo>
                    <a:lnTo>
                      <a:pt x="531" y="111"/>
                    </a:lnTo>
                    <a:lnTo>
                      <a:pt x="511" y="111"/>
                    </a:lnTo>
                    <a:lnTo>
                      <a:pt x="511" y="111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chemeClr val="bg1"/>
                  </a:solidFill>
                </a:endParaRPr>
              </a:p>
            </p:txBody>
          </p:sp>
          <p:sp>
            <p:nvSpPr>
              <p:cNvPr id="15" name="Freeform 1072"/>
              <p:cNvSpPr>
                <a:spLocks/>
              </p:cNvSpPr>
              <p:nvPr/>
            </p:nvSpPr>
            <p:spPr bwMode="auto">
              <a:xfrm>
                <a:off x="10758643" y="4559159"/>
                <a:ext cx="106224" cy="83799"/>
              </a:xfrm>
              <a:custGeom>
                <a:avLst/>
                <a:gdLst>
                  <a:gd name="T0" fmla="*/ 446 w 454"/>
                  <a:gd name="T1" fmla="*/ 50 h 358"/>
                  <a:gd name="T2" fmla="*/ 403 w 454"/>
                  <a:gd name="T3" fmla="*/ 7 h 358"/>
                  <a:gd name="T4" fmla="*/ 403 w 454"/>
                  <a:gd name="T5" fmla="*/ 7 h 358"/>
                  <a:gd name="T6" fmla="*/ 399 w 454"/>
                  <a:gd name="T7" fmla="*/ 4 h 358"/>
                  <a:gd name="T8" fmla="*/ 393 w 454"/>
                  <a:gd name="T9" fmla="*/ 1 h 358"/>
                  <a:gd name="T10" fmla="*/ 389 w 454"/>
                  <a:gd name="T11" fmla="*/ 0 h 358"/>
                  <a:gd name="T12" fmla="*/ 383 w 454"/>
                  <a:gd name="T13" fmla="*/ 0 h 358"/>
                  <a:gd name="T14" fmla="*/ 379 w 454"/>
                  <a:gd name="T15" fmla="*/ 0 h 358"/>
                  <a:gd name="T16" fmla="*/ 374 w 454"/>
                  <a:gd name="T17" fmla="*/ 1 h 358"/>
                  <a:gd name="T18" fmla="*/ 369 w 454"/>
                  <a:gd name="T19" fmla="*/ 4 h 358"/>
                  <a:gd name="T20" fmla="*/ 365 w 454"/>
                  <a:gd name="T21" fmla="*/ 7 h 358"/>
                  <a:gd name="T22" fmla="*/ 164 w 454"/>
                  <a:gd name="T23" fmla="*/ 207 h 358"/>
                  <a:gd name="T24" fmla="*/ 90 w 454"/>
                  <a:gd name="T25" fmla="*/ 133 h 358"/>
                  <a:gd name="T26" fmla="*/ 90 w 454"/>
                  <a:gd name="T27" fmla="*/ 133 h 358"/>
                  <a:gd name="T28" fmla="*/ 85 w 454"/>
                  <a:gd name="T29" fmla="*/ 130 h 358"/>
                  <a:gd name="T30" fmla="*/ 81 w 454"/>
                  <a:gd name="T31" fmla="*/ 127 h 358"/>
                  <a:gd name="T32" fmla="*/ 75 w 454"/>
                  <a:gd name="T33" fmla="*/ 126 h 358"/>
                  <a:gd name="T34" fmla="*/ 71 w 454"/>
                  <a:gd name="T35" fmla="*/ 125 h 358"/>
                  <a:gd name="T36" fmla="*/ 65 w 454"/>
                  <a:gd name="T37" fmla="*/ 126 h 358"/>
                  <a:gd name="T38" fmla="*/ 60 w 454"/>
                  <a:gd name="T39" fmla="*/ 127 h 358"/>
                  <a:gd name="T40" fmla="*/ 55 w 454"/>
                  <a:gd name="T41" fmla="*/ 130 h 358"/>
                  <a:gd name="T42" fmla="*/ 51 w 454"/>
                  <a:gd name="T43" fmla="*/ 133 h 358"/>
                  <a:gd name="T44" fmla="*/ 8 w 454"/>
                  <a:gd name="T45" fmla="*/ 176 h 358"/>
                  <a:gd name="T46" fmla="*/ 8 w 454"/>
                  <a:gd name="T47" fmla="*/ 176 h 358"/>
                  <a:gd name="T48" fmla="*/ 5 w 454"/>
                  <a:gd name="T49" fmla="*/ 180 h 358"/>
                  <a:gd name="T50" fmla="*/ 3 w 454"/>
                  <a:gd name="T51" fmla="*/ 185 h 358"/>
                  <a:gd name="T52" fmla="*/ 2 w 454"/>
                  <a:gd name="T53" fmla="*/ 190 h 358"/>
                  <a:gd name="T54" fmla="*/ 0 w 454"/>
                  <a:gd name="T55" fmla="*/ 196 h 358"/>
                  <a:gd name="T56" fmla="*/ 2 w 454"/>
                  <a:gd name="T57" fmla="*/ 200 h 358"/>
                  <a:gd name="T58" fmla="*/ 3 w 454"/>
                  <a:gd name="T59" fmla="*/ 206 h 358"/>
                  <a:gd name="T60" fmla="*/ 5 w 454"/>
                  <a:gd name="T61" fmla="*/ 210 h 358"/>
                  <a:gd name="T62" fmla="*/ 8 w 454"/>
                  <a:gd name="T63" fmla="*/ 214 h 358"/>
                  <a:gd name="T64" fmla="*/ 145 w 454"/>
                  <a:gd name="T65" fmla="*/ 350 h 358"/>
                  <a:gd name="T66" fmla="*/ 145 w 454"/>
                  <a:gd name="T67" fmla="*/ 350 h 358"/>
                  <a:gd name="T68" fmla="*/ 149 w 454"/>
                  <a:gd name="T69" fmla="*/ 353 h 358"/>
                  <a:gd name="T70" fmla="*/ 153 w 454"/>
                  <a:gd name="T71" fmla="*/ 355 h 358"/>
                  <a:gd name="T72" fmla="*/ 159 w 454"/>
                  <a:gd name="T73" fmla="*/ 357 h 358"/>
                  <a:gd name="T74" fmla="*/ 164 w 454"/>
                  <a:gd name="T75" fmla="*/ 358 h 358"/>
                  <a:gd name="T76" fmla="*/ 169 w 454"/>
                  <a:gd name="T77" fmla="*/ 357 h 358"/>
                  <a:gd name="T78" fmla="*/ 174 w 454"/>
                  <a:gd name="T79" fmla="*/ 355 h 358"/>
                  <a:gd name="T80" fmla="*/ 179 w 454"/>
                  <a:gd name="T81" fmla="*/ 353 h 358"/>
                  <a:gd name="T82" fmla="*/ 183 w 454"/>
                  <a:gd name="T83" fmla="*/ 350 h 358"/>
                  <a:gd name="T84" fmla="*/ 208 w 454"/>
                  <a:gd name="T85" fmla="*/ 324 h 358"/>
                  <a:gd name="T86" fmla="*/ 226 w 454"/>
                  <a:gd name="T87" fmla="*/ 307 h 358"/>
                  <a:gd name="T88" fmla="*/ 446 w 454"/>
                  <a:gd name="T89" fmla="*/ 88 h 358"/>
                  <a:gd name="T90" fmla="*/ 446 w 454"/>
                  <a:gd name="T91" fmla="*/ 88 h 358"/>
                  <a:gd name="T92" fmla="*/ 449 w 454"/>
                  <a:gd name="T93" fmla="*/ 83 h 358"/>
                  <a:gd name="T94" fmla="*/ 452 w 454"/>
                  <a:gd name="T95" fmla="*/ 79 h 358"/>
                  <a:gd name="T96" fmla="*/ 453 w 454"/>
                  <a:gd name="T97" fmla="*/ 73 h 358"/>
                  <a:gd name="T98" fmla="*/ 454 w 454"/>
                  <a:gd name="T99" fmla="*/ 69 h 358"/>
                  <a:gd name="T100" fmla="*/ 453 w 454"/>
                  <a:gd name="T101" fmla="*/ 63 h 358"/>
                  <a:gd name="T102" fmla="*/ 452 w 454"/>
                  <a:gd name="T103" fmla="*/ 59 h 358"/>
                  <a:gd name="T104" fmla="*/ 449 w 454"/>
                  <a:gd name="T105" fmla="*/ 54 h 358"/>
                  <a:gd name="T106" fmla="*/ 446 w 454"/>
                  <a:gd name="T107" fmla="*/ 50 h 358"/>
                  <a:gd name="T108" fmla="*/ 446 w 454"/>
                  <a:gd name="T109" fmla="*/ 50 h 3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454" h="358">
                    <a:moveTo>
                      <a:pt x="446" y="50"/>
                    </a:moveTo>
                    <a:lnTo>
                      <a:pt x="403" y="7"/>
                    </a:lnTo>
                    <a:lnTo>
                      <a:pt x="403" y="7"/>
                    </a:lnTo>
                    <a:lnTo>
                      <a:pt x="399" y="4"/>
                    </a:lnTo>
                    <a:lnTo>
                      <a:pt x="393" y="1"/>
                    </a:lnTo>
                    <a:lnTo>
                      <a:pt x="389" y="0"/>
                    </a:lnTo>
                    <a:lnTo>
                      <a:pt x="383" y="0"/>
                    </a:lnTo>
                    <a:lnTo>
                      <a:pt x="379" y="0"/>
                    </a:lnTo>
                    <a:lnTo>
                      <a:pt x="374" y="1"/>
                    </a:lnTo>
                    <a:lnTo>
                      <a:pt x="369" y="4"/>
                    </a:lnTo>
                    <a:lnTo>
                      <a:pt x="365" y="7"/>
                    </a:lnTo>
                    <a:lnTo>
                      <a:pt x="164" y="207"/>
                    </a:lnTo>
                    <a:lnTo>
                      <a:pt x="90" y="133"/>
                    </a:lnTo>
                    <a:lnTo>
                      <a:pt x="90" y="133"/>
                    </a:lnTo>
                    <a:lnTo>
                      <a:pt x="85" y="130"/>
                    </a:lnTo>
                    <a:lnTo>
                      <a:pt x="81" y="127"/>
                    </a:lnTo>
                    <a:lnTo>
                      <a:pt x="75" y="126"/>
                    </a:lnTo>
                    <a:lnTo>
                      <a:pt x="71" y="125"/>
                    </a:lnTo>
                    <a:lnTo>
                      <a:pt x="65" y="126"/>
                    </a:lnTo>
                    <a:lnTo>
                      <a:pt x="60" y="127"/>
                    </a:lnTo>
                    <a:lnTo>
                      <a:pt x="55" y="130"/>
                    </a:lnTo>
                    <a:lnTo>
                      <a:pt x="51" y="133"/>
                    </a:lnTo>
                    <a:lnTo>
                      <a:pt x="8" y="176"/>
                    </a:lnTo>
                    <a:lnTo>
                      <a:pt x="8" y="176"/>
                    </a:lnTo>
                    <a:lnTo>
                      <a:pt x="5" y="180"/>
                    </a:lnTo>
                    <a:lnTo>
                      <a:pt x="3" y="185"/>
                    </a:lnTo>
                    <a:lnTo>
                      <a:pt x="2" y="190"/>
                    </a:lnTo>
                    <a:lnTo>
                      <a:pt x="0" y="196"/>
                    </a:lnTo>
                    <a:lnTo>
                      <a:pt x="2" y="200"/>
                    </a:lnTo>
                    <a:lnTo>
                      <a:pt x="3" y="206"/>
                    </a:lnTo>
                    <a:lnTo>
                      <a:pt x="5" y="210"/>
                    </a:lnTo>
                    <a:lnTo>
                      <a:pt x="8" y="214"/>
                    </a:lnTo>
                    <a:lnTo>
                      <a:pt x="145" y="350"/>
                    </a:lnTo>
                    <a:lnTo>
                      <a:pt x="145" y="350"/>
                    </a:lnTo>
                    <a:lnTo>
                      <a:pt x="149" y="353"/>
                    </a:lnTo>
                    <a:lnTo>
                      <a:pt x="153" y="355"/>
                    </a:lnTo>
                    <a:lnTo>
                      <a:pt x="159" y="357"/>
                    </a:lnTo>
                    <a:lnTo>
                      <a:pt x="164" y="358"/>
                    </a:lnTo>
                    <a:lnTo>
                      <a:pt x="169" y="357"/>
                    </a:lnTo>
                    <a:lnTo>
                      <a:pt x="174" y="355"/>
                    </a:lnTo>
                    <a:lnTo>
                      <a:pt x="179" y="353"/>
                    </a:lnTo>
                    <a:lnTo>
                      <a:pt x="183" y="350"/>
                    </a:lnTo>
                    <a:lnTo>
                      <a:pt x="208" y="324"/>
                    </a:lnTo>
                    <a:lnTo>
                      <a:pt x="226" y="307"/>
                    </a:lnTo>
                    <a:lnTo>
                      <a:pt x="446" y="88"/>
                    </a:lnTo>
                    <a:lnTo>
                      <a:pt x="446" y="88"/>
                    </a:lnTo>
                    <a:lnTo>
                      <a:pt x="449" y="83"/>
                    </a:lnTo>
                    <a:lnTo>
                      <a:pt x="452" y="79"/>
                    </a:lnTo>
                    <a:lnTo>
                      <a:pt x="453" y="73"/>
                    </a:lnTo>
                    <a:lnTo>
                      <a:pt x="454" y="69"/>
                    </a:lnTo>
                    <a:lnTo>
                      <a:pt x="453" y="63"/>
                    </a:lnTo>
                    <a:lnTo>
                      <a:pt x="452" y="59"/>
                    </a:lnTo>
                    <a:lnTo>
                      <a:pt x="449" y="54"/>
                    </a:lnTo>
                    <a:lnTo>
                      <a:pt x="446" y="50"/>
                    </a:lnTo>
                    <a:lnTo>
                      <a:pt x="446" y="50"/>
                    </a:ln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20" name="Freeform 1071"/>
            <p:cNvSpPr>
              <a:spLocks noEditPoints="1"/>
            </p:cNvSpPr>
            <p:nvPr/>
          </p:nvSpPr>
          <p:spPr bwMode="auto">
            <a:xfrm>
              <a:off x="5018111" y="2807758"/>
              <a:ext cx="385267" cy="383350"/>
            </a:xfrm>
            <a:custGeom>
              <a:avLst/>
              <a:gdLst>
                <a:gd name="T0" fmla="*/ 997 w 1003"/>
                <a:gd name="T1" fmla="*/ 576 h 1000"/>
                <a:gd name="T2" fmla="*/ 963 w 1003"/>
                <a:gd name="T3" fmla="*/ 694 h 1000"/>
                <a:gd name="T4" fmla="*/ 903 w 1003"/>
                <a:gd name="T5" fmla="*/ 799 h 1000"/>
                <a:gd name="T6" fmla="*/ 820 w 1003"/>
                <a:gd name="T7" fmla="*/ 886 h 1000"/>
                <a:gd name="T8" fmla="*/ 719 w 1003"/>
                <a:gd name="T9" fmla="*/ 950 h 1000"/>
                <a:gd name="T10" fmla="*/ 602 w 1003"/>
                <a:gd name="T11" fmla="*/ 990 h 1000"/>
                <a:gd name="T12" fmla="*/ 501 w 1003"/>
                <a:gd name="T13" fmla="*/ 1000 h 1000"/>
                <a:gd name="T14" fmla="*/ 376 w 1003"/>
                <a:gd name="T15" fmla="*/ 984 h 1000"/>
                <a:gd name="T16" fmla="*/ 262 w 1003"/>
                <a:gd name="T17" fmla="*/ 939 h 1000"/>
                <a:gd name="T18" fmla="*/ 164 w 1003"/>
                <a:gd name="T19" fmla="*/ 870 h 1000"/>
                <a:gd name="T20" fmla="*/ 85 w 1003"/>
                <a:gd name="T21" fmla="*/ 779 h 1000"/>
                <a:gd name="T22" fmla="*/ 30 w 1003"/>
                <a:gd name="T23" fmla="*/ 672 h 1000"/>
                <a:gd name="T24" fmla="*/ 3 w 1003"/>
                <a:gd name="T25" fmla="*/ 551 h 1000"/>
                <a:gd name="T26" fmla="*/ 3 w 1003"/>
                <a:gd name="T27" fmla="*/ 449 h 1000"/>
                <a:gd name="T28" fmla="*/ 30 w 1003"/>
                <a:gd name="T29" fmla="*/ 329 h 1000"/>
                <a:gd name="T30" fmla="*/ 85 w 1003"/>
                <a:gd name="T31" fmla="*/ 221 h 1000"/>
                <a:gd name="T32" fmla="*/ 164 w 1003"/>
                <a:gd name="T33" fmla="*/ 130 h 1000"/>
                <a:gd name="T34" fmla="*/ 262 w 1003"/>
                <a:gd name="T35" fmla="*/ 61 h 1000"/>
                <a:gd name="T36" fmla="*/ 376 w 1003"/>
                <a:gd name="T37" fmla="*/ 17 h 1000"/>
                <a:gd name="T38" fmla="*/ 501 w 1003"/>
                <a:gd name="T39" fmla="*/ 0 h 1000"/>
                <a:gd name="T40" fmla="*/ 602 w 1003"/>
                <a:gd name="T41" fmla="*/ 10 h 1000"/>
                <a:gd name="T42" fmla="*/ 719 w 1003"/>
                <a:gd name="T43" fmla="*/ 50 h 1000"/>
                <a:gd name="T44" fmla="*/ 820 w 1003"/>
                <a:gd name="T45" fmla="*/ 115 h 1000"/>
                <a:gd name="T46" fmla="*/ 903 w 1003"/>
                <a:gd name="T47" fmla="*/ 201 h 1000"/>
                <a:gd name="T48" fmla="*/ 963 w 1003"/>
                <a:gd name="T49" fmla="*/ 305 h 1000"/>
                <a:gd name="T50" fmla="*/ 997 w 1003"/>
                <a:gd name="T51" fmla="*/ 424 h 1000"/>
                <a:gd name="T52" fmla="*/ 511 w 1003"/>
                <a:gd name="T53" fmla="*/ 111 h 1000"/>
                <a:gd name="T54" fmla="*/ 433 w 1003"/>
                <a:gd name="T55" fmla="*/ 119 h 1000"/>
                <a:gd name="T56" fmla="*/ 342 w 1003"/>
                <a:gd name="T57" fmla="*/ 150 h 1000"/>
                <a:gd name="T58" fmla="*/ 263 w 1003"/>
                <a:gd name="T59" fmla="*/ 200 h 1000"/>
                <a:gd name="T60" fmla="*/ 198 w 1003"/>
                <a:gd name="T61" fmla="*/ 268 h 1000"/>
                <a:gd name="T62" fmla="*/ 151 w 1003"/>
                <a:gd name="T63" fmla="*/ 348 h 1000"/>
                <a:gd name="T64" fmla="*/ 126 w 1003"/>
                <a:gd name="T65" fmla="*/ 441 h 1000"/>
                <a:gd name="T66" fmla="*/ 121 w 1003"/>
                <a:gd name="T67" fmla="*/ 520 h 1000"/>
                <a:gd name="T68" fmla="*/ 138 w 1003"/>
                <a:gd name="T69" fmla="*/ 616 h 1000"/>
                <a:gd name="T70" fmla="*/ 178 w 1003"/>
                <a:gd name="T71" fmla="*/ 702 h 1000"/>
                <a:gd name="T72" fmla="*/ 235 w 1003"/>
                <a:gd name="T73" fmla="*/ 775 h 1000"/>
                <a:gd name="T74" fmla="*/ 309 w 1003"/>
                <a:gd name="T75" fmla="*/ 832 h 1000"/>
                <a:gd name="T76" fmla="*/ 395 w 1003"/>
                <a:gd name="T77" fmla="*/ 872 h 1000"/>
                <a:gd name="T78" fmla="*/ 491 w 1003"/>
                <a:gd name="T79" fmla="*/ 888 h 1000"/>
                <a:gd name="T80" fmla="*/ 570 w 1003"/>
                <a:gd name="T81" fmla="*/ 884 h 1000"/>
                <a:gd name="T82" fmla="*/ 663 w 1003"/>
                <a:gd name="T83" fmla="*/ 859 h 1000"/>
                <a:gd name="T84" fmla="*/ 744 w 1003"/>
                <a:gd name="T85" fmla="*/ 811 h 1000"/>
                <a:gd name="T86" fmla="*/ 813 w 1003"/>
                <a:gd name="T87" fmla="*/ 747 h 1000"/>
                <a:gd name="T88" fmla="*/ 863 w 1003"/>
                <a:gd name="T89" fmla="*/ 669 h 1000"/>
                <a:gd name="T90" fmla="*/ 893 w 1003"/>
                <a:gd name="T91" fmla="*/ 579 h 1000"/>
                <a:gd name="T92" fmla="*/ 902 w 1003"/>
                <a:gd name="T93" fmla="*/ 500 h 1000"/>
                <a:gd name="T94" fmla="*/ 889 w 1003"/>
                <a:gd name="T95" fmla="*/ 403 h 1000"/>
                <a:gd name="T96" fmla="*/ 854 w 1003"/>
                <a:gd name="T97" fmla="*/ 315 h 1000"/>
                <a:gd name="T98" fmla="*/ 799 w 1003"/>
                <a:gd name="T99" fmla="*/ 239 h 1000"/>
                <a:gd name="T100" fmla="*/ 729 w 1003"/>
                <a:gd name="T101" fmla="*/ 178 h 1000"/>
                <a:gd name="T102" fmla="*/ 645 w 1003"/>
                <a:gd name="T103" fmla="*/ 135 h 1000"/>
                <a:gd name="T104" fmla="*/ 551 w 1003"/>
                <a:gd name="T105" fmla="*/ 114 h 10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003" h="1000">
                  <a:moveTo>
                    <a:pt x="1003" y="500"/>
                  </a:moveTo>
                  <a:lnTo>
                    <a:pt x="1003" y="500"/>
                  </a:lnTo>
                  <a:lnTo>
                    <a:pt x="1002" y="526"/>
                  </a:lnTo>
                  <a:lnTo>
                    <a:pt x="1001" y="551"/>
                  </a:lnTo>
                  <a:lnTo>
                    <a:pt x="997" y="576"/>
                  </a:lnTo>
                  <a:lnTo>
                    <a:pt x="993" y="601"/>
                  </a:lnTo>
                  <a:lnTo>
                    <a:pt x="988" y="625"/>
                  </a:lnTo>
                  <a:lnTo>
                    <a:pt x="980" y="649"/>
                  </a:lnTo>
                  <a:lnTo>
                    <a:pt x="972" y="672"/>
                  </a:lnTo>
                  <a:lnTo>
                    <a:pt x="963" y="694"/>
                  </a:lnTo>
                  <a:lnTo>
                    <a:pt x="953" y="716"/>
                  </a:lnTo>
                  <a:lnTo>
                    <a:pt x="942" y="738"/>
                  </a:lnTo>
                  <a:lnTo>
                    <a:pt x="930" y="759"/>
                  </a:lnTo>
                  <a:lnTo>
                    <a:pt x="917" y="779"/>
                  </a:lnTo>
                  <a:lnTo>
                    <a:pt x="903" y="799"/>
                  </a:lnTo>
                  <a:lnTo>
                    <a:pt x="889" y="818"/>
                  </a:lnTo>
                  <a:lnTo>
                    <a:pt x="873" y="837"/>
                  </a:lnTo>
                  <a:lnTo>
                    <a:pt x="856" y="853"/>
                  </a:lnTo>
                  <a:lnTo>
                    <a:pt x="839" y="870"/>
                  </a:lnTo>
                  <a:lnTo>
                    <a:pt x="820" y="886"/>
                  </a:lnTo>
                  <a:lnTo>
                    <a:pt x="802" y="900"/>
                  </a:lnTo>
                  <a:lnTo>
                    <a:pt x="782" y="915"/>
                  </a:lnTo>
                  <a:lnTo>
                    <a:pt x="762" y="928"/>
                  </a:lnTo>
                  <a:lnTo>
                    <a:pt x="740" y="939"/>
                  </a:lnTo>
                  <a:lnTo>
                    <a:pt x="719" y="950"/>
                  </a:lnTo>
                  <a:lnTo>
                    <a:pt x="697" y="961"/>
                  </a:lnTo>
                  <a:lnTo>
                    <a:pt x="674" y="970"/>
                  </a:lnTo>
                  <a:lnTo>
                    <a:pt x="651" y="978"/>
                  </a:lnTo>
                  <a:lnTo>
                    <a:pt x="627" y="984"/>
                  </a:lnTo>
                  <a:lnTo>
                    <a:pt x="602" y="990"/>
                  </a:lnTo>
                  <a:lnTo>
                    <a:pt x="578" y="994"/>
                  </a:lnTo>
                  <a:lnTo>
                    <a:pt x="553" y="997"/>
                  </a:lnTo>
                  <a:lnTo>
                    <a:pt x="528" y="1000"/>
                  </a:lnTo>
                  <a:lnTo>
                    <a:pt x="501" y="1000"/>
                  </a:lnTo>
                  <a:lnTo>
                    <a:pt x="501" y="1000"/>
                  </a:lnTo>
                  <a:lnTo>
                    <a:pt x="476" y="1000"/>
                  </a:lnTo>
                  <a:lnTo>
                    <a:pt x="450" y="997"/>
                  </a:lnTo>
                  <a:lnTo>
                    <a:pt x="425" y="994"/>
                  </a:lnTo>
                  <a:lnTo>
                    <a:pt x="400" y="990"/>
                  </a:lnTo>
                  <a:lnTo>
                    <a:pt x="376" y="984"/>
                  </a:lnTo>
                  <a:lnTo>
                    <a:pt x="353" y="978"/>
                  </a:lnTo>
                  <a:lnTo>
                    <a:pt x="329" y="970"/>
                  </a:lnTo>
                  <a:lnTo>
                    <a:pt x="306" y="961"/>
                  </a:lnTo>
                  <a:lnTo>
                    <a:pt x="284" y="950"/>
                  </a:lnTo>
                  <a:lnTo>
                    <a:pt x="262" y="939"/>
                  </a:lnTo>
                  <a:lnTo>
                    <a:pt x="241" y="928"/>
                  </a:lnTo>
                  <a:lnTo>
                    <a:pt x="220" y="915"/>
                  </a:lnTo>
                  <a:lnTo>
                    <a:pt x="202" y="900"/>
                  </a:lnTo>
                  <a:lnTo>
                    <a:pt x="182" y="886"/>
                  </a:lnTo>
                  <a:lnTo>
                    <a:pt x="164" y="870"/>
                  </a:lnTo>
                  <a:lnTo>
                    <a:pt x="147" y="853"/>
                  </a:lnTo>
                  <a:lnTo>
                    <a:pt x="130" y="837"/>
                  </a:lnTo>
                  <a:lnTo>
                    <a:pt x="115" y="818"/>
                  </a:lnTo>
                  <a:lnTo>
                    <a:pt x="99" y="799"/>
                  </a:lnTo>
                  <a:lnTo>
                    <a:pt x="85" y="779"/>
                  </a:lnTo>
                  <a:lnTo>
                    <a:pt x="72" y="759"/>
                  </a:lnTo>
                  <a:lnTo>
                    <a:pt x="61" y="738"/>
                  </a:lnTo>
                  <a:lnTo>
                    <a:pt x="49" y="716"/>
                  </a:lnTo>
                  <a:lnTo>
                    <a:pt x="39" y="694"/>
                  </a:lnTo>
                  <a:lnTo>
                    <a:pt x="30" y="672"/>
                  </a:lnTo>
                  <a:lnTo>
                    <a:pt x="22" y="649"/>
                  </a:lnTo>
                  <a:lnTo>
                    <a:pt x="16" y="625"/>
                  </a:lnTo>
                  <a:lnTo>
                    <a:pt x="10" y="601"/>
                  </a:lnTo>
                  <a:lnTo>
                    <a:pt x="6" y="576"/>
                  </a:lnTo>
                  <a:lnTo>
                    <a:pt x="3" y="551"/>
                  </a:lnTo>
                  <a:lnTo>
                    <a:pt x="0" y="526"/>
                  </a:lnTo>
                  <a:lnTo>
                    <a:pt x="0" y="500"/>
                  </a:lnTo>
                  <a:lnTo>
                    <a:pt x="0" y="500"/>
                  </a:lnTo>
                  <a:lnTo>
                    <a:pt x="0" y="474"/>
                  </a:lnTo>
                  <a:lnTo>
                    <a:pt x="3" y="449"/>
                  </a:lnTo>
                  <a:lnTo>
                    <a:pt x="6" y="424"/>
                  </a:lnTo>
                  <a:lnTo>
                    <a:pt x="10" y="399"/>
                  </a:lnTo>
                  <a:lnTo>
                    <a:pt x="16" y="375"/>
                  </a:lnTo>
                  <a:lnTo>
                    <a:pt x="22" y="352"/>
                  </a:lnTo>
                  <a:lnTo>
                    <a:pt x="30" y="329"/>
                  </a:lnTo>
                  <a:lnTo>
                    <a:pt x="39" y="305"/>
                  </a:lnTo>
                  <a:lnTo>
                    <a:pt x="49" y="283"/>
                  </a:lnTo>
                  <a:lnTo>
                    <a:pt x="61" y="262"/>
                  </a:lnTo>
                  <a:lnTo>
                    <a:pt x="72" y="241"/>
                  </a:lnTo>
                  <a:lnTo>
                    <a:pt x="85" y="221"/>
                  </a:lnTo>
                  <a:lnTo>
                    <a:pt x="99" y="201"/>
                  </a:lnTo>
                  <a:lnTo>
                    <a:pt x="115" y="182"/>
                  </a:lnTo>
                  <a:lnTo>
                    <a:pt x="130" y="164"/>
                  </a:lnTo>
                  <a:lnTo>
                    <a:pt x="147" y="147"/>
                  </a:lnTo>
                  <a:lnTo>
                    <a:pt x="164" y="130"/>
                  </a:lnTo>
                  <a:lnTo>
                    <a:pt x="182" y="115"/>
                  </a:lnTo>
                  <a:lnTo>
                    <a:pt x="202" y="99"/>
                  </a:lnTo>
                  <a:lnTo>
                    <a:pt x="220" y="86"/>
                  </a:lnTo>
                  <a:lnTo>
                    <a:pt x="241" y="73"/>
                  </a:lnTo>
                  <a:lnTo>
                    <a:pt x="262" y="61"/>
                  </a:lnTo>
                  <a:lnTo>
                    <a:pt x="284" y="50"/>
                  </a:lnTo>
                  <a:lnTo>
                    <a:pt x="306" y="40"/>
                  </a:lnTo>
                  <a:lnTo>
                    <a:pt x="329" y="31"/>
                  </a:lnTo>
                  <a:lnTo>
                    <a:pt x="353" y="23"/>
                  </a:lnTo>
                  <a:lnTo>
                    <a:pt x="376" y="17"/>
                  </a:lnTo>
                  <a:lnTo>
                    <a:pt x="400" y="10"/>
                  </a:lnTo>
                  <a:lnTo>
                    <a:pt x="425" y="6"/>
                  </a:lnTo>
                  <a:lnTo>
                    <a:pt x="450" y="3"/>
                  </a:lnTo>
                  <a:lnTo>
                    <a:pt x="476" y="1"/>
                  </a:lnTo>
                  <a:lnTo>
                    <a:pt x="501" y="0"/>
                  </a:lnTo>
                  <a:lnTo>
                    <a:pt x="501" y="0"/>
                  </a:lnTo>
                  <a:lnTo>
                    <a:pt x="528" y="1"/>
                  </a:lnTo>
                  <a:lnTo>
                    <a:pt x="553" y="3"/>
                  </a:lnTo>
                  <a:lnTo>
                    <a:pt x="578" y="6"/>
                  </a:lnTo>
                  <a:lnTo>
                    <a:pt x="602" y="10"/>
                  </a:lnTo>
                  <a:lnTo>
                    <a:pt x="627" y="17"/>
                  </a:lnTo>
                  <a:lnTo>
                    <a:pt x="651" y="23"/>
                  </a:lnTo>
                  <a:lnTo>
                    <a:pt x="674" y="31"/>
                  </a:lnTo>
                  <a:lnTo>
                    <a:pt x="697" y="40"/>
                  </a:lnTo>
                  <a:lnTo>
                    <a:pt x="719" y="50"/>
                  </a:lnTo>
                  <a:lnTo>
                    <a:pt x="740" y="61"/>
                  </a:lnTo>
                  <a:lnTo>
                    <a:pt x="762" y="73"/>
                  </a:lnTo>
                  <a:lnTo>
                    <a:pt x="782" y="86"/>
                  </a:lnTo>
                  <a:lnTo>
                    <a:pt x="802" y="99"/>
                  </a:lnTo>
                  <a:lnTo>
                    <a:pt x="820" y="115"/>
                  </a:lnTo>
                  <a:lnTo>
                    <a:pt x="839" y="130"/>
                  </a:lnTo>
                  <a:lnTo>
                    <a:pt x="856" y="147"/>
                  </a:lnTo>
                  <a:lnTo>
                    <a:pt x="873" y="164"/>
                  </a:lnTo>
                  <a:lnTo>
                    <a:pt x="889" y="182"/>
                  </a:lnTo>
                  <a:lnTo>
                    <a:pt x="903" y="201"/>
                  </a:lnTo>
                  <a:lnTo>
                    <a:pt x="917" y="221"/>
                  </a:lnTo>
                  <a:lnTo>
                    <a:pt x="930" y="241"/>
                  </a:lnTo>
                  <a:lnTo>
                    <a:pt x="942" y="262"/>
                  </a:lnTo>
                  <a:lnTo>
                    <a:pt x="953" y="283"/>
                  </a:lnTo>
                  <a:lnTo>
                    <a:pt x="963" y="305"/>
                  </a:lnTo>
                  <a:lnTo>
                    <a:pt x="972" y="329"/>
                  </a:lnTo>
                  <a:lnTo>
                    <a:pt x="980" y="352"/>
                  </a:lnTo>
                  <a:lnTo>
                    <a:pt x="988" y="375"/>
                  </a:lnTo>
                  <a:lnTo>
                    <a:pt x="993" y="399"/>
                  </a:lnTo>
                  <a:lnTo>
                    <a:pt x="997" y="424"/>
                  </a:lnTo>
                  <a:lnTo>
                    <a:pt x="1001" y="449"/>
                  </a:lnTo>
                  <a:lnTo>
                    <a:pt x="1002" y="474"/>
                  </a:lnTo>
                  <a:lnTo>
                    <a:pt x="1003" y="500"/>
                  </a:lnTo>
                  <a:lnTo>
                    <a:pt x="1003" y="500"/>
                  </a:lnTo>
                  <a:close/>
                  <a:moveTo>
                    <a:pt x="511" y="111"/>
                  </a:moveTo>
                  <a:lnTo>
                    <a:pt x="511" y="111"/>
                  </a:lnTo>
                  <a:lnTo>
                    <a:pt x="491" y="111"/>
                  </a:lnTo>
                  <a:lnTo>
                    <a:pt x="471" y="114"/>
                  </a:lnTo>
                  <a:lnTo>
                    <a:pt x="452" y="116"/>
                  </a:lnTo>
                  <a:lnTo>
                    <a:pt x="433" y="119"/>
                  </a:lnTo>
                  <a:lnTo>
                    <a:pt x="413" y="124"/>
                  </a:lnTo>
                  <a:lnTo>
                    <a:pt x="395" y="129"/>
                  </a:lnTo>
                  <a:lnTo>
                    <a:pt x="377" y="135"/>
                  </a:lnTo>
                  <a:lnTo>
                    <a:pt x="359" y="142"/>
                  </a:lnTo>
                  <a:lnTo>
                    <a:pt x="342" y="150"/>
                  </a:lnTo>
                  <a:lnTo>
                    <a:pt x="325" y="159"/>
                  </a:lnTo>
                  <a:lnTo>
                    <a:pt x="309" y="168"/>
                  </a:lnTo>
                  <a:lnTo>
                    <a:pt x="293" y="178"/>
                  </a:lnTo>
                  <a:lnTo>
                    <a:pt x="278" y="189"/>
                  </a:lnTo>
                  <a:lnTo>
                    <a:pt x="263" y="200"/>
                  </a:lnTo>
                  <a:lnTo>
                    <a:pt x="249" y="213"/>
                  </a:lnTo>
                  <a:lnTo>
                    <a:pt x="235" y="225"/>
                  </a:lnTo>
                  <a:lnTo>
                    <a:pt x="223" y="239"/>
                  </a:lnTo>
                  <a:lnTo>
                    <a:pt x="209" y="252"/>
                  </a:lnTo>
                  <a:lnTo>
                    <a:pt x="198" y="268"/>
                  </a:lnTo>
                  <a:lnTo>
                    <a:pt x="187" y="282"/>
                  </a:lnTo>
                  <a:lnTo>
                    <a:pt x="178" y="299"/>
                  </a:lnTo>
                  <a:lnTo>
                    <a:pt x="168" y="315"/>
                  </a:lnTo>
                  <a:lnTo>
                    <a:pt x="159" y="332"/>
                  </a:lnTo>
                  <a:lnTo>
                    <a:pt x="151" y="348"/>
                  </a:lnTo>
                  <a:lnTo>
                    <a:pt x="145" y="366"/>
                  </a:lnTo>
                  <a:lnTo>
                    <a:pt x="138" y="385"/>
                  </a:lnTo>
                  <a:lnTo>
                    <a:pt x="134" y="403"/>
                  </a:lnTo>
                  <a:lnTo>
                    <a:pt x="129" y="422"/>
                  </a:lnTo>
                  <a:lnTo>
                    <a:pt x="126" y="441"/>
                  </a:lnTo>
                  <a:lnTo>
                    <a:pt x="123" y="461"/>
                  </a:lnTo>
                  <a:lnTo>
                    <a:pt x="121" y="481"/>
                  </a:lnTo>
                  <a:lnTo>
                    <a:pt x="121" y="500"/>
                  </a:lnTo>
                  <a:lnTo>
                    <a:pt x="121" y="500"/>
                  </a:lnTo>
                  <a:lnTo>
                    <a:pt x="121" y="520"/>
                  </a:lnTo>
                  <a:lnTo>
                    <a:pt x="123" y="540"/>
                  </a:lnTo>
                  <a:lnTo>
                    <a:pt x="126" y="559"/>
                  </a:lnTo>
                  <a:lnTo>
                    <a:pt x="129" y="579"/>
                  </a:lnTo>
                  <a:lnTo>
                    <a:pt x="134" y="597"/>
                  </a:lnTo>
                  <a:lnTo>
                    <a:pt x="138" y="616"/>
                  </a:lnTo>
                  <a:lnTo>
                    <a:pt x="145" y="634"/>
                  </a:lnTo>
                  <a:lnTo>
                    <a:pt x="151" y="651"/>
                  </a:lnTo>
                  <a:lnTo>
                    <a:pt x="159" y="669"/>
                  </a:lnTo>
                  <a:lnTo>
                    <a:pt x="168" y="686"/>
                  </a:lnTo>
                  <a:lnTo>
                    <a:pt x="178" y="702"/>
                  </a:lnTo>
                  <a:lnTo>
                    <a:pt x="187" y="718"/>
                  </a:lnTo>
                  <a:lnTo>
                    <a:pt x="198" y="733"/>
                  </a:lnTo>
                  <a:lnTo>
                    <a:pt x="209" y="747"/>
                  </a:lnTo>
                  <a:lnTo>
                    <a:pt x="223" y="762"/>
                  </a:lnTo>
                  <a:lnTo>
                    <a:pt x="235" y="775"/>
                  </a:lnTo>
                  <a:lnTo>
                    <a:pt x="249" y="788"/>
                  </a:lnTo>
                  <a:lnTo>
                    <a:pt x="263" y="800"/>
                  </a:lnTo>
                  <a:lnTo>
                    <a:pt x="278" y="811"/>
                  </a:lnTo>
                  <a:lnTo>
                    <a:pt x="293" y="822"/>
                  </a:lnTo>
                  <a:lnTo>
                    <a:pt x="309" y="832"/>
                  </a:lnTo>
                  <a:lnTo>
                    <a:pt x="325" y="842"/>
                  </a:lnTo>
                  <a:lnTo>
                    <a:pt x="342" y="851"/>
                  </a:lnTo>
                  <a:lnTo>
                    <a:pt x="359" y="859"/>
                  </a:lnTo>
                  <a:lnTo>
                    <a:pt x="377" y="865"/>
                  </a:lnTo>
                  <a:lnTo>
                    <a:pt x="395" y="872"/>
                  </a:lnTo>
                  <a:lnTo>
                    <a:pt x="413" y="876"/>
                  </a:lnTo>
                  <a:lnTo>
                    <a:pt x="433" y="881"/>
                  </a:lnTo>
                  <a:lnTo>
                    <a:pt x="452" y="884"/>
                  </a:lnTo>
                  <a:lnTo>
                    <a:pt x="471" y="887"/>
                  </a:lnTo>
                  <a:lnTo>
                    <a:pt x="491" y="888"/>
                  </a:lnTo>
                  <a:lnTo>
                    <a:pt x="511" y="888"/>
                  </a:lnTo>
                  <a:lnTo>
                    <a:pt x="511" y="888"/>
                  </a:lnTo>
                  <a:lnTo>
                    <a:pt x="531" y="888"/>
                  </a:lnTo>
                  <a:lnTo>
                    <a:pt x="551" y="887"/>
                  </a:lnTo>
                  <a:lnTo>
                    <a:pt x="570" y="884"/>
                  </a:lnTo>
                  <a:lnTo>
                    <a:pt x="589" y="881"/>
                  </a:lnTo>
                  <a:lnTo>
                    <a:pt x="609" y="876"/>
                  </a:lnTo>
                  <a:lnTo>
                    <a:pt x="627" y="872"/>
                  </a:lnTo>
                  <a:lnTo>
                    <a:pt x="645" y="865"/>
                  </a:lnTo>
                  <a:lnTo>
                    <a:pt x="663" y="859"/>
                  </a:lnTo>
                  <a:lnTo>
                    <a:pt x="681" y="851"/>
                  </a:lnTo>
                  <a:lnTo>
                    <a:pt x="697" y="842"/>
                  </a:lnTo>
                  <a:lnTo>
                    <a:pt x="714" y="832"/>
                  </a:lnTo>
                  <a:lnTo>
                    <a:pt x="729" y="822"/>
                  </a:lnTo>
                  <a:lnTo>
                    <a:pt x="744" y="811"/>
                  </a:lnTo>
                  <a:lnTo>
                    <a:pt x="760" y="800"/>
                  </a:lnTo>
                  <a:lnTo>
                    <a:pt x="773" y="788"/>
                  </a:lnTo>
                  <a:lnTo>
                    <a:pt x="787" y="775"/>
                  </a:lnTo>
                  <a:lnTo>
                    <a:pt x="799" y="762"/>
                  </a:lnTo>
                  <a:lnTo>
                    <a:pt x="813" y="747"/>
                  </a:lnTo>
                  <a:lnTo>
                    <a:pt x="824" y="733"/>
                  </a:lnTo>
                  <a:lnTo>
                    <a:pt x="835" y="718"/>
                  </a:lnTo>
                  <a:lnTo>
                    <a:pt x="845" y="702"/>
                  </a:lnTo>
                  <a:lnTo>
                    <a:pt x="854" y="686"/>
                  </a:lnTo>
                  <a:lnTo>
                    <a:pt x="863" y="669"/>
                  </a:lnTo>
                  <a:lnTo>
                    <a:pt x="871" y="651"/>
                  </a:lnTo>
                  <a:lnTo>
                    <a:pt x="878" y="634"/>
                  </a:lnTo>
                  <a:lnTo>
                    <a:pt x="884" y="616"/>
                  </a:lnTo>
                  <a:lnTo>
                    <a:pt x="889" y="597"/>
                  </a:lnTo>
                  <a:lnTo>
                    <a:pt x="893" y="579"/>
                  </a:lnTo>
                  <a:lnTo>
                    <a:pt x="896" y="559"/>
                  </a:lnTo>
                  <a:lnTo>
                    <a:pt x="900" y="540"/>
                  </a:lnTo>
                  <a:lnTo>
                    <a:pt x="901" y="520"/>
                  </a:lnTo>
                  <a:lnTo>
                    <a:pt x="902" y="500"/>
                  </a:lnTo>
                  <a:lnTo>
                    <a:pt x="902" y="500"/>
                  </a:lnTo>
                  <a:lnTo>
                    <a:pt x="901" y="481"/>
                  </a:lnTo>
                  <a:lnTo>
                    <a:pt x="900" y="461"/>
                  </a:lnTo>
                  <a:lnTo>
                    <a:pt x="896" y="441"/>
                  </a:lnTo>
                  <a:lnTo>
                    <a:pt x="893" y="422"/>
                  </a:lnTo>
                  <a:lnTo>
                    <a:pt x="889" y="403"/>
                  </a:lnTo>
                  <a:lnTo>
                    <a:pt x="884" y="385"/>
                  </a:lnTo>
                  <a:lnTo>
                    <a:pt x="878" y="366"/>
                  </a:lnTo>
                  <a:lnTo>
                    <a:pt x="871" y="348"/>
                  </a:lnTo>
                  <a:lnTo>
                    <a:pt x="863" y="332"/>
                  </a:lnTo>
                  <a:lnTo>
                    <a:pt x="854" y="315"/>
                  </a:lnTo>
                  <a:lnTo>
                    <a:pt x="845" y="299"/>
                  </a:lnTo>
                  <a:lnTo>
                    <a:pt x="835" y="282"/>
                  </a:lnTo>
                  <a:lnTo>
                    <a:pt x="824" y="268"/>
                  </a:lnTo>
                  <a:lnTo>
                    <a:pt x="813" y="252"/>
                  </a:lnTo>
                  <a:lnTo>
                    <a:pt x="799" y="239"/>
                  </a:lnTo>
                  <a:lnTo>
                    <a:pt x="787" y="225"/>
                  </a:lnTo>
                  <a:lnTo>
                    <a:pt x="773" y="213"/>
                  </a:lnTo>
                  <a:lnTo>
                    <a:pt x="760" y="200"/>
                  </a:lnTo>
                  <a:lnTo>
                    <a:pt x="744" y="189"/>
                  </a:lnTo>
                  <a:lnTo>
                    <a:pt x="729" y="178"/>
                  </a:lnTo>
                  <a:lnTo>
                    <a:pt x="714" y="168"/>
                  </a:lnTo>
                  <a:lnTo>
                    <a:pt x="697" y="159"/>
                  </a:lnTo>
                  <a:lnTo>
                    <a:pt x="681" y="150"/>
                  </a:lnTo>
                  <a:lnTo>
                    <a:pt x="663" y="142"/>
                  </a:lnTo>
                  <a:lnTo>
                    <a:pt x="645" y="135"/>
                  </a:lnTo>
                  <a:lnTo>
                    <a:pt x="627" y="129"/>
                  </a:lnTo>
                  <a:lnTo>
                    <a:pt x="609" y="124"/>
                  </a:lnTo>
                  <a:lnTo>
                    <a:pt x="589" y="119"/>
                  </a:lnTo>
                  <a:lnTo>
                    <a:pt x="570" y="116"/>
                  </a:lnTo>
                  <a:lnTo>
                    <a:pt x="551" y="114"/>
                  </a:lnTo>
                  <a:lnTo>
                    <a:pt x="531" y="111"/>
                  </a:lnTo>
                  <a:lnTo>
                    <a:pt x="511" y="111"/>
                  </a:lnTo>
                  <a:lnTo>
                    <a:pt x="511" y="111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</a:endParaRPr>
            </a:p>
          </p:txBody>
        </p:sp>
        <p:grpSp>
          <p:nvGrpSpPr>
            <p:cNvPr id="24" name="Group 23"/>
            <p:cNvGrpSpPr/>
            <p:nvPr/>
          </p:nvGrpSpPr>
          <p:grpSpPr>
            <a:xfrm>
              <a:off x="5018111" y="3550088"/>
              <a:ext cx="385267" cy="383350"/>
              <a:chOff x="10687827" y="4481265"/>
              <a:chExt cx="237233" cy="236053"/>
            </a:xfrm>
            <a:solidFill>
              <a:srgbClr val="F2584E"/>
            </a:solidFill>
          </p:grpSpPr>
          <p:sp>
            <p:nvSpPr>
              <p:cNvPr id="25" name="Freeform 1071"/>
              <p:cNvSpPr>
                <a:spLocks noEditPoints="1"/>
              </p:cNvSpPr>
              <p:nvPr/>
            </p:nvSpPr>
            <p:spPr bwMode="auto">
              <a:xfrm>
                <a:off x="10687827" y="4481265"/>
                <a:ext cx="237233" cy="236053"/>
              </a:xfrm>
              <a:custGeom>
                <a:avLst/>
                <a:gdLst>
                  <a:gd name="T0" fmla="*/ 997 w 1003"/>
                  <a:gd name="T1" fmla="*/ 576 h 1000"/>
                  <a:gd name="T2" fmla="*/ 963 w 1003"/>
                  <a:gd name="T3" fmla="*/ 694 h 1000"/>
                  <a:gd name="T4" fmla="*/ 903 w 1003"/>
                  <a:gd name="T5" fmla="*/ 799 h 1000"/>
                  <a:gd name="T6" fmla="*/ 820 w 1003"/>
                  <a:gd name="T7" fmla="*/ 886 h 1000"/>
                  <a:gd name="T8" fmla="*/ 719 w 1003"/>
                  <a:gd name="T9" fmla="*/ 950 h 1000"/>
                  <a:gd name="T10" fmla="*/ 602 w 1003"/>
                  <a:gd name="T11" fmla="*/ 990 h 1000"/>
                  <a:gd name="T12" fmla="*/ 501 w 1003"/>
                  <a:gd name="T13" fmla="*/ 1000 h 1000"/>
                  <a:gd name="T14" fmla="*/ 376 w 1003"/>
                  <a:gd name="T15" fmla="*/ 984 h 1000"/>
                  <a:gd name="T16" fmla="*/ 262 w 1003"/>
                  <a:gd name="T17" fmla="*/ 939 h 1000"/>
                  <a:gd name="T18" fmla="*/ 164 w 1003"/>
                  <a:gd name="T19" fmla="*/ 870 h 1000"/>
                  <a:gd name="T20" fmla="*/ 85 w 1003"/>
                  <a:gd name="T21" fmla="*/ 779 h 1000"/>
                  <a:gd name="T22" fmla="*/ 30 w 1003"/>
                  <a:gd name="T23" fmla="*/ 672 h 1000"/>
                  <a:gd name="T24" fmla="*/ 3 w 1003"/>
                  <a:gd name="T25" fmla="*/ 551 h 1000"/>
                  <a:gd name="T26" fmla="*/ 3 w 1003"/>
                  <a:gd name="T27" fmla="*/ 449 h 1000"/>
                  <a:gd name="T28" fmla="*/ 30 w 1003"/>
                  <a:gd name="T29" fmla="*/ 329 h 1000"/>
                  <a:gd name="T30" fmla="*/ 85 w 1003"/>
                  <a:gd name="T31" fmla="*/ 221 h 1000"/>
                  <a:gd name="T32" fmla="*/ 164 w 1003"/>
                  <a:gd name="T33" fmla="*/ 130 h 1000"/>
                  <a:gd name="T34" fmla="*/ 262 w 1003"/>
                  <a:gd name="T35" fmla="*/ 61 h 1000"/>
                  <a:gd name="T36" fmla="*/ 376 w 1003"/>
                  <a:gd name="T37" fmla="*/ 17 h 1000"/>
                  <a:gd name="T38" fmla="*/ 501 w 1003"/>
                  <a:gd name="T39" fmla="*/ 0 h 1000"/>
                  <a:gd name="T40" fmla="*/ 602 w 1003"/>
                  <a:gd name="T41" fmla="*/ 10 h 1000"/>
                  <a:gd name="T42" fmla="*/ 719 w 1003"/>
                  <a:gd name="T43" fmla="*/ 50 h 1000"/>
                  <a:gd name="T44" fmla="*/ 820 w 1003"/>
                  <a:gd name="T45" fmla="*/ 115 h 1000"/>
                  <a:gd name="T46" fmla="*/ 903 w 1003"/>
                  <a:gd name="T47" fmla="*/ 201 h 1000"/>
                  <a:gd name="T48" fmla="*/ 963 w 1003"/>
                  <a:gd name="T49" fmla="*/ 305 h 1000"/>
                  <a:gd name="T50" fmla="*/ 997 w 1003"/>
                  <a:gd name="T51" fmla="*/ 424 h 1000"/>
                  <a:gd name="T52" fmla="*/ 511 w 1003"/>
                  <a:gd name="T53" fmla="*/ 111 h 1000"/>
                  <a:gd name="T54" fmla="*/ 433 w 1003"/>
                  <a:gd name="T55" fmla="*/ 119 h 1000"/>
                  <a:gd name="T56" fmla="*/ 342 w 1003"/>
                  <a:gd name="T57" fmla="*/ 150 h 1000"/>
                  <a:gd name="T58" fmla="*/ 263 w 1003"/>
                  <a:gd name="T59" fmla="*/ 200 h 1000"/>
                  <a:gd name="T60" fmla="*/ 198 w 1003"/>
                  <a:gd name="T61" fmla="*/ 268 h 1000"/>
                  <a:gd name="T62" fmla="*/ 151 w 1003"/>
                  <a:gd name="T63" fmla="*/ 348 h 1000"/>
                  <a:gd name="T64" fmla="*/ 126 w 1003"/>
                  <a:gd name="T65" fmla="*/ 441 h 1000"/>
                  <a:gd name="T66" fmla="*/ 121 w 1003"/>
                  <a:gd name="T67" fmla="*/ 520 h 1000"/>
                  <a:gd name="T68" fmla="*/ 138 w 1003"/>
                  <a:gd name="T69" fmla="*/ 616 h 1000"/>
                  <a:gd name="T70" fmla="*/ 178 w 1003"/>
                  <a:gd name="T71" fmla="*/ 702 h 1000"/>
                  <a:gd name="T72" fmla="*/ 235 w 1003"/>
                  <a:gd name="T73" fmla="*/ 775 h 1000"/>
                  <a:gd name="T74" fmla="*/ 309 w 1003"/>
                  <a:gd name="T75" fmla="*/ 832 h 1000"/>
                  <a:gd name="T76" fmla="*/ 395 w 1003"/>
                  <a:gd name="T77" fmla="*/ 872 h 1000"/>
                  <a:gd name="T78" fmla="*/ 491 w 1003"/>
                  <a:gd name="T79" fmla="*/ 888 h 1000"/>
                  <a:gd name="T80" fmla="*/ 570 w 1003"/>
                  <a:gd name="T81" fmla="*/ 884 h 1000"/>
                  <a:gd name="T82" fmla="*/ 663 w 1003"/>
                  <a:gd name="T83" fmla="*/ 859 h 1000"/>
                  <a:gd name="T84" fmla="*/ 744 w 1003"/>
                  <a:gd name="T85" fmla="*/ 811 h 1000"/>
                  <a:gd name="T86" fmla="*/ 813 w 1003"/>
                  <a:gd name="T87" fmla="*/ 747 h 1000"/>
                  <a:gd name="T88" fmla="*/ 863 w 1003"/>
                  <a:gd name="T89" fmla="*/ 669 h 1000"/>
                  <a:gd name="T90" fmla="*/ 893 w 1003"/>
                  <a:gd name="T91" fmla="*/ 579 h 1000"/>
                  <a:gd name="T92" fmla="*/ 902 w 1003"/>
                  <a:gd name="T93" fmla="*/ 500 h 1000"/>
                  <a:gd name="T94" fmla="*/ 889 w 1003"/>
                  <a:gd name="T95" fmla="*/ 403 h 1000"/>
                  <a:gd name="T96" fmla="*/ 854 w 1003"/>
                  <a:gd name="T97" fmla="*/ 315 h 1000"/>
                  <a:gd name="T98" fmla="*/ 799 w 1003"/>
                  <a:gd name="T99" fmla="*/ 239 h 1000"/>
                  <a:gd name="T100" fmla="*/ 729 w 1003"/>
                  <a:gd name="T101" fmla="*/ 178 h 1000"/>
                  <a:gd name="T102" fmla="*/ 645 w 1003"/>
                  <a:gd name="T103" fmla="*/ 135 h 1000"/>
                  <a:gd name="T104" fmla="*/ 551 w 1003"/>
                  <a:gd name="T105" fmla="*/ 114 h 10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003" h="1000">
                    <a:moveTo>
                      <a:pt x="1003" y="500"/>
                    </a:moveTo>
                    <a:lnTo>
                      <a:pt x="1003" y="500"/>
                    </a:lnTo>
                    <a:lnTo>
                      <a:pt x="1002" y="526"/>
                    </a:lnTo>
                    <a:lnTo>
                      <a:pt x="1001" y="551"/>
                    </a:lnTo>
                    <a:lnTo>
                      <a:pt x="997" y="576"/>
                    </a:lnTo>
                    <a:lnTo>
                      <a:pt x="993" y="601"/>
                    </a:lnTo>
                    <a:lnTo>
                      <a:pt x="988" y="625"/>
                    </a:lnTo>
                    <a:lnTo>
                      <a:pt x="980" y="649"/>
                    </a:lnTo>
                    <a:lnTo>
                      <a:pt x="972" y="672"/>
                    </a:lnTo>
                    <a:lnTo>
                      <a:pt x="963" y="694"/>
                    </a:lnTo>
                    <a:lnTo>
                      <a:pt x="953" y="716"/>
                    </a:lnTo>
                    <a:lnTo>
                      <a:pt x="942" y="738"/>
                    </a:lnTo>
                    <a:lnTo>
                      <a:pt x="930" y="759"/>
                    </a:lnTo>
                    <a:lnTo>
                      <a:pt x="917" y="779"/>
                    </a:lnTo>
                    <a:lnTo>
                      <a:pt x="903" y="799"/>
                    </a:lnTo>
                    <a:lnTo>
                      <a:pt x="889" y="818"/>
                    </a:lnTo>
                    <a:lnTo>
                      <a:pt x="873" y="837"/>
                    </a:lnTo>
                    <a:lnTo>
                      <a:pt x="856" y="853"/>
                    </a:lnTo>
                    <a:lnTo>
                      <a:pt x="839" y="870"/>
                    </a:lnTo>
                    <a:lnTo>
                      <a:pt x="820" y="886"/>
                    </a:lnTo>
                    <a:lnTo>
                      <a:pt x="802" y="900"/>
                    </a:lnTo>
                    <a:lnTo>
                      <a:pt x="782" y="915"/>
                    </a:lnTo>
                    <a:lnTo>
                      <a:pt x="762" y="928"/>
                    </a:lnTo>
                    <a:lnTo>
                      <a:pt x="740" y="939"/>
                    </a:lnTo>
                    <a:lnTo>
                      <a:pt x="719" y="950"/>
                    </a:lnTo>
                    <a:lnTo>
                      <a:pt x="697" y="961"/>
                    </a:lnTo>
                    <a:lnTo>
                      <a:pt x="674" y="970"/>
                    </a:lnTo>
                    <a:lnTo>
                      <a:pt x="651" y="978"/>
                    </a:lnTo>
                    <a:lnTo>
                      <a:pt x="627" y="984"/>
                    </a:lnTo>
                    <a:lnTo>
                      <a:pt x="602" y="990"/>
                    </a:lnTo>
                    <a:lnTo>
                      <a:pt x="578" y="994"/>
                    </a:lnTo>
                    <a:lnTo>
                      <a:pt x="553" y="997"/>
                    </a:lnTo>
                    <a:lnTo>
                      <a:pt x="528" y="1000"/>
                    </a:lnTo>
                    <a:lnTo>
                      <a:pt x="501" y="1000"/>
                    </a:lnTo>
                    <a:lnTo>
                      <a:pt x="501" y="1000"/>
                    </a:lnTo>
                    <a:lnTo>
                      <a:pt x="476" y="1000"/>
                    </a:lnTo>
                    <a:lnTo>
                      <a:pt x="450" y="997"/>
                    </a:lnTo>
                    <a:lnTo>
                      <a:pt x="425" y="994"/>
                    </a:lnTo>
                    <a:lnTo>
                      <a:pt x="400" y="990"/>
                    </a:lnTo>
                    <a:lnTo>
                      <a:pt x="376" y="984"/>
                    </a:lnTo>
                    <a:lnTo>
                      <a:pt x="353" y="978"/>
                    </a:lnTo>
                    <a:lnTo>
                      <a:pt x="329" y="970"/>
                    </a:lnTo>
                    <a:lnTo>
                      <a:pt x="306" y="961"/>
                    </a:lnTo>
                    <a:lnTo>
                      <a:pt x="284" y="950"/>
                    </a:lnTo>
                    <a:lnTo>
                      <a:pt x="262" y="939"/>
                    </a:lnTo>
                    <a:lnTo>
                      <a:pt x="241" y="928"/>
                    </a:lnTo>
                    <a:lnTo>
                      <a:pt x="220" y="915"/>
                    </a:lnTo>
                    <a:lnTo>
                      <a:pt x="202" y="900"/>
                    </a:lnTo>
                    <a:lnTo>
                      <a:pt x="182" y="886"/>
                    </a:lnTo>
                    <a:lnTo>
                      <a:pt x="164" y="870"/>
                    </a:lnTo>
                    <a:lnTo>
                      <a:pt x="147" y="853"/>
                    </a:lnTo>
                    <a:lnTo>
                      <a:pt x="130" y="837"/>
                    </a:lnTo>
                    <a:lnTo>
                      <a:pt x="115" y="818"/>
                    </a:lnTo>
                    <a:lnTo>
                      <a:pt x="99" y="799"/>
                    </a:lnTo>
                    <a:lnTo>
                      <a:pt x="85" y="779"/>
                    </a:lnTo>
                    <a:lnTo>
                      <a:pt x="72" y="759"/>
                    </a:lnTo>
                    <a:lnTo>
                      <a:pt x="61" y="738"/>
                    </a:lnTo>
                    <a:lnTo>
                      <a:pt x="49" y="716"/>
                    </a:lnTo>
                    <a:lnTo>
                      <a:pt x="39" y="694"/>
                    </a:lnTo>
                    <a:lnTo>
                      <a:pt x="30" y="672"/>
                    </a:lnTo>
                    <a:lnTo>
                      <a:pt x="22" y="649"/>
                    </a:lnTo>
                    <a:lnTo>
                      <a:pt x="16" y="625"/>
                    </a:lnTo>
                    <a:lnTo>
                      <a:pt x="10" y="601"/>
                    </a:lnTo>
                    <a:lnTo>
                      <a:pt x="6" y="576"/>
                    </a:lnTo>
                    <a:lnTo>
                      <a:pt x="3" y="551"/>
                    </a:lnTo>
                    <a:lnTo>
                      <a:pt x="0" y="526"/>
                    </a:lnTo>
                    <a:lnTo>
                      <a:pt x="0" y="500"/>
                    </a:lnTo>
                    <a:lnTo>
                      <a:pt x="0" y="500"/>
                    </a:lnTo>
                    <a:lnTo>
                      <a:pt x="0" y="474"/>
                    </a:lnTo>
                    <a:lnTo>
                      <a:pt x="3" y="449"/>
                    </a:lnTo>
                    <a:lnTo>
                      <a:pt x="6" y="424"/>
                    </a:lnTo>
                    <a:lnTo>
                      <a:pt x="10" y="399"/>
                    </a:lnTo>
                    <a:lnTo>
                      <a:pt x="16" y="375"/>
                    </a:lnTo>
                    <a:lnTo>
                      <a:pt x="22" y="352"/>
                    </a:lnTo>
                    <a:lnTo>
                      <a:pt x="30" y="329"/>
                    </a:lnTo>
                    <a:lnTo>
                      <a:pt x="39" y="305"/>
                    </a:lnTo>
                    <a:lnTo>
                      <a:pt x="49" y="283"/>
                    </a:lnTo>
                    <a:lnTo>
                      <a:pt x="61" y="262"/>
                    </a:lnTo>
                    <a:lnTo>
                      <a:pt x="72" y="241"/>
                    </a:lnTo>
                    <a:lnTo>
                      <a:pt x="85" y="221"/>
                    </a:lnTo>
                    <a:lnTo>
                      <a:pt x="99" y="201"/>
                    </a:lnTo>
                    <a:lnTo>
                      <a:pt x="115" y="182"/>
                    </a:lnTo>
                    <a:lnTo>
                      <a:pt x="130" y="164"/>
                    </a:lnTo>
                    <a:lnTo>
                      <a:pt x="147" y="147"/>
                    </a:lnTo>
                    <a:lnTo>
                      <a:pt x="164" y="130"/>
                    </a:lnTo>
                    <a:lnTo>
                      <a:pt x="182" y="115"/>
                    </a:lnTo>
                    <a:lnTo>
                      <a:pt x="202" y="99"/>
                    </a:lnTo>
                    <a:lnTo>
                      <a:pt x="220" y="86"/>
                    </a:lnTo>
                    <a:lnTo>
                      <a:pt x="241" y="73"/>
                    </a:lnTo>
                    <a:lnTo>
                      <a:pt x="262" y="61"/>
                    </a:lnTo>
                    <a:lnTo>
                      <a:pt x="284" y="50"/>
                    </a:lnTo>
                    <a:lnTo>
                      <a:pt x="306" y="40"/>
                    </a:lnTo>
                    <a:lnTo>
                      <a:pt x="329" y="31"/>
                    </a:lnTo>
                    <a:lnTo>
                      <a:pt x="353" y="23"/>
                    </a:lnTo>
                    <a:lnTo>
                      <a:pt x="376" y="17"/>
                    </a:lnTo>
                    <a:lnTo>
                      <a:pt x="400" y="10"/>
                    </a:lnTo>
                    <a:lnTo>
                      <a:pt x="425" y="6"/>
                    </a:lnTo>
                    <a:lnTo>
                      <a:pt x="450" y="3"/>
                    </a:lnTo>
                    <a:lnTo>
                      <a:pt x="476" y="1"/>
                    </a:lnTo>
                    <a:lnTo>
                      <a:pt x="501" y="0"/>
                    </a:lnTo>
                    <a:lnTo>
                      <a:pt x="501" y="0"/>
                    </a:lnTo>
                    <a:lnTo>
                      <a:pt x="528" y="1"/>
                    </a:lnTo>
                    <a:lnTo>
                      <a:pt x="553" y="3"/>
                    </a:lnTo>
                    <a:lnTo>
                      <a:pt x="578" y="6"/>
                    </a:lnTo>
                    <a:lnTo>
                      <a:pt x="602" y="10"/>
                    </a:lnTo>
                    <a:lnTo>
                      <a:pt x="627" y="17"/>
                    </a:lnTo>
                    <a:lnTo>
                      <a:pt x="651" y="23"/>
                    </a:lnTo>
                    <a:lnTo>
                      <a:pt x="674" y="31"/>
                    </a:lnTo>
                    <a:lnTo>
                      <a:pt x="697" y="40"/>
                    </a:lnTo>
                    <a:lnTo>
                      <a:pt x="719" y="50"/>
                    </a:lnTo>
                    <a:lnTo>
                      <a:pt x="740" y="61"/>
                    </a:lnTo>
                    <a:lnTo>
                      <a:pt x="762" y="73"/>
                    </a:lnTo>
                    <a:lnTo>
                      <a:pt x="782" y="86"/>
                    </a:lnTo>
                    <a:lnTo>
                      <a:pt x="802" y="99"/>
                    </a:lnTo>
                    <a:lnTo>
                      <a:pt x="820" y="115"/>
                    </a:lnTo>
                    <a:lnTo>
                      <a:pt x="839" y="130"/>
                    </a:lnTo>
                    <a:lnTo>
                      <a:pt x="856" y="147"/>
                    </a:lnTo>
                    <a:lnTo>
                      <a:pt x="873" y="164"/>
                    </a:lnTo>
                    <a:lnTo>
                      <a:pt x="889" y="182"/>
                    </a:lnTo>
                    <a:lnTo>
                      <a:pt x="903" y="201"/>
                    </a:lnTo>
                    <a:lnTo>
                      <a:pt x="917" y="221"/>
                    </a:lnTo>
                    <a:lnTo>
                      <a:pt x="930" y="241"/>
                    </a:lnTo>
                    <a:lnTo>
                      <a:pt x="942" y="262"/>
                    </a:lnTo>
                    <a:lnTo>
                      <a:pt x="953" y="283"/>
                    </a:lnTo>
                    <a:lnTo>
                      <a:pt x="963" y="305"/>
                    </a:lnTo>
                    <a:lnTo>
                      <a:pt x="972" y="329"/>
                    </a:lnTo>
                    <a:lnTo>
                      <a:pt x="980" y="352"/>
                    </a:lnTo>
                    <a:lnTo>
                      <a:pt x="988" y="375"/>
                    </a:lnTo>
                    <a:lnTo>
                      <a:pt x="993" y="399"/>
                    </a:lnTo>
                    <a:lnTo>
                      <a:pt x="997" y="424"/>
                    </a:lnTo>
                    <a:lnTo>
                      <a:pt x="1001" y="449"/>
                    </a:lnTo>
                    <a:lnTo>
                      <a:pt x="1002" y="474"/>
                    </a:lnTo>
                    <a:lnTo>
                      <a:pt x="1003" y="500"/>
                    </a:lnTo>
                    <a:lnTo>
                      <a:pt x="1003" y="500"/>
                    </a:lnTo>
                    <a:close/>
                    <a:moveTo>
                      <a:pt x="511" y="111"/>
                    </a:moveTo>
                    <a:lnTo>
                      <a:pt x="511" y="111"/>
                    </a:lnTo>
                    <a:lnTo>
                      <a:pt x="491" y="111"/>
                    </a:lnTo>
                    <a:lnTo>
                      <a:pt x="471" y="114"/>
                    </a:lnTo>
                    <a:lnTo>
                      <a:pt x="452" y="116"/>
                    </a:lnTo>
                    <a:lnTo>
                      <a:pt x="433" y="119"/>
                    </a:lnTo>
                    <a:lnTo>
                      <a:pt x="413" y="124"/>
                    </a:lnTo>
                    <a:lnTo>
                      <a:pt x="395" y="129"/>
                    </a:lnTo>
                    <a:lnTo>
                      <a:pt x="377" y="135"/>
                    </a:lnTo>
                    <a:lnTo>
                      <a:pt x="359" y="142"/>
                    </a:lnTo>
                    <a:lnTo>
                      <a:pt x="342" y="150"/>
                    </a:lnTo>
                    <a:lnTo>
                      <a:pt x="325" y="159"/>
                    </a:lnTo>
                    <a:lnTo>
                      <a:pt x="309" y="168"/>
                    </a:lnTo>
                    <a:lnTo>
                      <a:pt x="293" y="178"/>
                    </a:lnTo>
                    <a:lnTo>
                      <a:pt x="278" y="189"/>
                    </a:lnTo>
                    <a:lnTo>
                      <a:pt x="263" y="200"/>
                    </a:lnTo>
                    <a:lnTo>
                      <a:pt x="249" y="213"/>
                    </a:lnTo>
                    <a:lnTo>
                      <a:pt x="235" y="225"/>
                    </a:lnTo>
                    <a:lnTo>
                      <a:pt x="223" y="239"/>
                    </a:lnTo>
                    <a:lnTo>
                      <a:pt x="209" y="252"/>
                    </a:lnTo>
                    <a:lnTo>
                      <a:pt x="198" y="268"/>
                    </a:lnTo>
                    <a:lnTo>
                      <a:pt x="187" y="282"/>
                    </a:lnTo>
                    <a:lnTo>
                      <a:pt x="178" y="299"/>
                    </a:lnTo>
                    <a:lnTo>
                      <a:pt x="168" y="315"/>
                    </a:lnTo>
                    <a:lnTo>
                      <a:pt x="159" y="332"/>
                    </a:lnTo>
                    <a:lnTo>
                      <a:pt x="151" y="348"/>
                    </a:lnTo>
                    <a:lnTo>
                      <a:pt x="145" y="366"/>
                    </a:lnTo>
                    <a:lnTo>
                      <a:pt x="138" y="385"/>
                    </a:lnTo>
                    <a:lnTo>
                      <a:pt x="134" y="403"/>
                    </a:lnTo>
                    <a:lnTo>
                      <a:pt x="129" y="422"/>
                    </a:lnTo>
                    <a:lnTo>
                      <a:pt x="126" y="441"/>
                    </a:lnTo>
                    <a:lnTo>
                      <a:pt x="123" y="461"/>
                    </a:lnTo>
                    <a:lnTo>
                      <a:pt x="121" y="481"/>
                    </a:lnTo>
                    <a:lnTo>
                      <a:pt x="121" y="500"/>
                    </a:lnTo>
                    <a:lnTo>
                      <a:pt x="121" y="500"/>
                    </a:lnTo>
                    <a:lnTo>
                      <a:pt x="121" y="520"/>
                    </a:lnTo>
                    <a:lnTo>
                      <a:pt x="123" y="540"/>
                    </a:lnTo>
                    <a:lnTo>
                      <a:pt x="126" y="559"/>
                    </a:lnTo>
                    <a:lnTo>
                      <a:pt x="129" y="579"/>
                    </a:lnTo>
                    <a:lnTo>
                      <a:pt x="134" y="597"/>
                    </a:lnTo>
                    <a:lnTo>
                      <a:pt x="138" y="616"/>
                    </a:lnTo>
                    <a:lnTo>
                      <a:pt x="145" y="634"/>
                    </a:lnTo>
                    <a:lnTo>
                      <a:pt x="151" y="651"/>
                    </a:lnTo>
                    <a:lnTo>
                      <a:pt x="159" y="669"/>
                    </a:lnTo>
                    <a:lnTo>
                      <a:pt x="168" y="686"/>
                    </a:lnTo>
                    <a:lnTo>
                      <a:pt x="178" y="702"/>
                    </a:lnTo>
                    <a:lnTo>
                      <a:pt x="187" y="718"/>
                    </a:lnTo>
                    <a:lnTo>
                      <a:pt x="198" y="733"/>
                    </a:lnTo>
                    <a:lnTo>
                      <a:pt x="209" y="747"/>
                    </a:lnTo>
                    <a:lnTo>
                      <a:pt x="223" y="762"/>
                    </a:lnTo>
                    <a:lnTo>
                      <a:pt x="235" y="775"/>
                    </a:lnTo>
                    <a:lnTo>
                      <a:pt x="249" y="788"/>
                    </a:lnTo>
                    <a:lnTo>
                      <a:pt x="263" y="800"/>
                    </a:lnTo>
                    <a:lnTo>
                      <a:pt x="278" y="811"/>
                    </a:lnTo>
                    <a:lnTo>
                      <a:pt x="293" y="822"/>
                    </a:lnTo>
                    <a:lnTo>
                      <a:pt x="309" y="832"/>
                    </a:lnTo>
                    <a:lnTo>
                      <a:pt x="325" y="842"/>
                    </a:lnTo>
                    <a:lnTo>
                      <a:pt x="342" y="851"/>
                    </a:lnTo>
                    <a:lnTo>
                      <a:pt x="359" y="859"/>
                    </a:lnTo>
                    <a:lnTo>
                      <a:pt x="377" y="865"/>
                    </a:lnTo>
                    <a:lnTo>
                      <a:pt x="395" y="872"/>
                    </a:lnTo>
                    <a:lnTo>
                      <a:pt x="413" y="876"/>
                    </a:lnTo>
                    <a:lnTo>
                      <a:pt x="433" y="881"/>
                    </a:lnTo>
                    <a:lnTo>
                      <a:pt x="452" y="884"/>
                    </a:lnTo>
                    <a:lnTo>
                      <a:pt x="471" y="887"/>
                    </a:lnTo>
                    <a:lnTo>
                      <a:pt x="491" y="888"/>
                    </a:lnTo>
                    <a:lnTo>
                      <a:pt x="511" y="888"/>
                    </a:lnTo>
                    <a:lnTo>
                      <a:pt x="511" y="888"/>
                    </a:lnTo>
                    <a:lnTo>
                      <a:pt x="531" y="888"/>
                    </a:lnTo>
                    <a:lnTo>
                      <a:pt x="551" y="887"/>
                    </a:lnTo>
                    <a:lnTo>
                      <a:pt x="570" y="884"/>
                    </a:lnTo>
                    <a:lnTo>
                      <a:pt x="589" y="881"/>
                    </a:lnTo>
                    <a:lnTo>
                      <a:pt x="609" y="876"/>
                    </a:lnTo>
                    <a:lnTo>
                      <a:pt x="627" y="872"/>
                    </a:lnTo>
                    <a:lnTo>
                      <a:pt x="645" y="865"/>
                    </a:lnTo>
                    <a:lnTo>
                      <a:pt x="663" y="859"/>
                    </a:lnTo>
                    <a:lnTo>
                      <a:pt x="681" y="851"/>
                    </a:lnTo>
                    <a:lnTo>
                      <a:pt x="697" y="842"/>
                    </a:lnTo>
                    <a:lnTo>
                      <a:pt x="714" y="832"/>
                    </a:lnTo>
                    <a:lnTo>
                      <a:pt x="729" y="822"/>
                    </a:lnTo>
                    <a:lnTo>
                      <a:pt x="744" y="811"/>
                    </a:lnTo>
                    <a:lnTo>
                      <a:pt x="760" y="800"/>
                    </a:lnTo>
                    <a:lnTo>
                      <a:pt x="773" y="788"/>
                    </a:lnTo>
                    <a:lnTo>
                      <a:pt x="787" y="775"/>
                    </a:lnTo>
                    <a:lnTo>
                      <a:pt x="799" y="762"/>
                    </a:lnTo>
                    <a:lnTo>
                      <a:pt x="813" y="747"/>
                    </a:lnTo>
                    <a:lnTo>
                      <a:pt x="824" y="733"/>
                    </a:lnTo>
                    <a:lnTo>
                      <a:pt x="835" y="718"/>
                    </a:lnTo>
                    <a:lnTo>
                      <a:pt x="845" y="702"/>
                    </a:lnTo>
                    <a:lnTo>
                      <a:pt x="854" y="686"/>
                    </a:lnTo>
                    <a:lnTo>
                      <a:pt x="863" y="669"/>
                    </a:lnTo>
                    <a:lnTo>
                      <a:pt x="871" y="651"/>
                    </a:lnTo>
                    <a:lnTo>
                      <a:pt x="878" y="634"/>
                    </a:lnTo>
                    <a:lnTo>
                      <a:pt x="884" y="616"/>
                    </a:lnTo>
                    <a:lnTo>
                      <a:pt x="889" y="597"/>
                    </a:lnTo>
                    <a:lnTo>
                      <a:pt x="893" y="579"/>
                    </a:lnTo>
                    <a:lnTo>
                      <a:pt x="896" y="559"/>
                    </a:lnTo>
                    <a:lnTo>
                      <a:pt x="900" y="540"/>
                    </a:lnTo>
                    <a:lnTo>
                      <a:pt x="901" y="520"/>
                    </a:lnTo>
                    <a:lnTo>
                      <a:pt x="902" y="500"/>
                    </a:lnTo>
                    <a:lnTo>
                      <a:pt x="902" y="500"/>
                    </a:lnTo>
                    <a:lnTo>
                      <a:pt x="901" y="481"/>
                    </a:lnTo>
                    <a:lnTo>
                      <a:pt x="900" y="461"/>
                    </a:lnTo>
                    <a:lnTo>
                      <a:pt x="896" y="441"/>
                    </a:lnTo>
                    <a:lnTo>
                      <a:pt x="893" y="422"/>
                    </a:lnTo>
                    <a:lnTo>
                      <a:pt x="889" y="403"/>
                    </a:lnTo>
                    <a:lnTo>
                      <a:pt x="884" y="385"/>
                    </a:lnTo>
                    <a:lnTo>
                      <a:pt x="878" y="366"/>
                    </a:lnTo>
                    <a:lnTo>
                      <a:pt x="871" y="348"/>
                    </a:lnTo>
                    <a:lnTo>
                      <a:pt x="863" y="332"/>
                    </a:lnTo>
                    <a:lnTo>
                      <a:pt x="854" y="315"/>
                    </a:lnTo>
                    <a:lnTo>
                      <a:pt x="845" y="299"/>
                    </a:lnTo>
                    <a:lnTo>
                      <a:pt x="835" y="282"/>
                    </a:lnTo>
                    <a:lnTo>
                      <a:pt x="824" y="268"/>
                    </a:lnTo>
                    <a:lnTo>
                      <a:pt x="813" y="252"/>
                    </a:lnTo>
                    <a:lnTo>
                      <a:pt x="799" y="239"/>
                    </a:lnTo>
                    <a:lnTo>
                      <a:pt x="787" y="225"/>
                    </a:lnTo>
                    <a:lnTo>
                      <a:pt x="773" y="213"/>
                    </a:lnTo>
                    <a:lnTo>
                      <a:pt x="760" y="200"/>
                    </a:lnTo>
                    <a:lnTo>
                      <a:pt x="744" y="189"/>
                    </a:lnTo>
                    <a:lnTo>
                      <a:pt x="729" y="178"/>
                    </a:lnTo>
                    <a:lnTo>
                      <a:pt x="714" y="168"/>
                    </a:lnTo>
                    <a:lnTo>
                      <a:pt x="697" y="159"/>
                    </a:lnTo>
                    <a:lnTo>
                      <a:pt x="681" y="150"/>
                    </a:lnTo>
                    <a:lnTo>
                      <a:pt x="663" y="142"/>
                    </a:lnTo>
                    <a:lnTo>
                      <a:pt x="645" y="135"/>
                    </a:lnTo>
                    <a:lnTo>
                      <a:pt x="627" y="129"/>
                    </a:lnTo>
                    <a:lnTo>
                      <a:pt x="609" y="124"/>
                    </a:lnTo>
                    <a:lnTo>
                      <a:pt x="589" y="119"/>
                    </a:lnTo>
                    <a:lnTo>
                      <a:pt x="570" y="116"/>
                    </a:lnTo>
                    <a:lnTo>
                      <a:pt x="551" y="114"/>
                    </a:lnTo>
                    <a:lnTo>
                      <a:pt x="531" y="111"/>
                    </a:lnTo>
                    <a:lnTo>
                      <a:pt x="511" y="111"/>
                    </a:lnTo>
                    <a:lnTo>
                      <a:pt x="511" y="111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chemeClr val="bg1"/>
                  </a:solidFill>
                </a:endParaRPr>
              </a:p>
            </p:txBody>
          </p:sp>
          <p:sp>
            <p:nvSpPr>
              <p:cNvPr id="26" name="Freeform 1072"/>
              <p:cNvSpPr>
                <a:spLocks/>
              </p:cNvSpPr>
              <p:nvPr/>
            </p:nvSpPr>
            <p:spPr bwMode="auto">
              <a:xfrm>
                <a:off x="10758643" y="4559159"/>
                <a:ext cx="106224" cy="83799"/>
              </a:xfrm>
              <a:custGeom>
                <a:avLst/>
                <a:gdLst>
                  <a:gd name="T0" fmla="*/ 446 w 454"/>
                  <a:gd name="T1" fmla="*/ 50 h 358"/>
                  <a:gd name="T2" fmla="*/ 403 w 454"/>
                  <a:gd name="T3" fmla="*/ 7 h 358"/>
                  <a:gd name="T4" fmla="*/ 403 w 454"/>
                  <a:gd name="T5" fmla="*/ 7 h 358"/>
                  <a:gd name="T6" fmla="*/ 399 w 454"/>
                  <a:gd name="T7" fmla="*/ 4 h 358"/>
                  <a:gd name="T8" fmla="*/ 393 w 454"/>
                  <a:gd name="T9" fmla="*/ 1 h 358"/>
                  <a:gd name="T10" fmla="*/ 389 w 454"/>
                  <a:gd name="T11" fmla="*/ 0 h 358"/>
                  <a:gd name="T12" fmla="*/ 383 w 454"/>
                  <a:gd name="T13" fmla="*/ 0 h 358"/>
                  <a:gd name="T14" fmla="*/ 379 w 454"/>
                  <a:gd name="T15" fmla="*/ 0 h 358"/>
                  <a:gd name="T16" fmla="*/ 374 w 454"/>
                  <a:gd name="T17" fmla="*/ 1 h 358"/>
                  <a:gd name="T18" fmla="*/ 369 w 454"/>
                  <a:gd name="T19" fmla="*/ 4 h 358"/>
                  <a:gd name="T20" fmla="*/ 365 w 454"/>
                  <a:gd name="T21" fmla="*/ 7 h 358"/>
                  <a:gd name="T22" fmla="*/ 164 w 454"/>
                  <a:gd name="T23" fmla="*/ 207 h 358"/>
                  <a:gd name="T24" fmla="*/ 90 w 454"/>
                  <a:gd name="T25" fmla="*/ 133 h 358"/>
                  <a:gd name="T26" fmla="*/ 90 w 454"/>
                  <a:gd name="T27" fmla="*/ 133 h 358"/>
                  <a:gd name="T28" fmla="*/ 85 w 454"/>
                  <a:gd name="T29" fmla="*/ 130 h 358"/>
                  <a:gd name="T30" fmla="*/ 81 w 454"/>
                  <a:gd name="T31" fmla="*/ 127 h 358"/>
                  <a:gd name="T32" fmla="*/ 75 w 454"/>
                  <a:gd name="T33" fmla="*/ 126 h 358"/>
                  <a:gd name="T34" fmla="*/ 71 w 454"/>
                  <a:gd name="T35" fmla="*/ 125 h 358"/>
                  <a:gd name="T36" fmla="*/ 65 w 454"/>
                  <a:gd name="T37" fmla="*/ 126 h 358"/>
                  <a:gd name="T38" fmla="*/ 60 w 454"/>
                  <a:gd name="T39" fmla="*/ 127 h 358"/>
                  <a:gd name="T40" fmla="*/ 55 w 454"/>
                  <a:gd name="T41" fmla="*/ 130 h 358"/>
                  <a:gd name="T42" fmla="*/ 51 w 454"/>
                  <a:gd name="T43" fmla="*/ 133 h 358"/>
                  <a:gd name="T44" fmla="*/ 8 w 454"/>
                  <a:gd name="T45" fmla="*/ 176 h 358"/>
                  <a:gd name="T46" fmla="*/ 8 w 454"/>
                  <a:gd name="T47" fmla="*/ 176 h 358"/>
                  <a:gd name="T48" fmla="*/ 5 w 454"/>
                  <a:gd name="T49" fmla="*/ 180 h 358"/>
                  <a:gd name="T50" fmla="*/ 3 w 454"/>
                  <a:gd name="T51" fmla="*/ 185 h 358"/>
                  <a:gd name="T52" fmla="*/ 2 w 454"/>
                  <a:gd name="T53" fmla="*/ 190 h 358"/>
                  <a:gd name="T54" fmla="*/ 0 w 454"/>
                  <a:gd name="T55" fmla="*/ 196 h 358"/>
                  <a:gd name="T56" fmla="*/ 2 w 454"/>
                  <a:gd name="T57" fmla="*/ 200 h 358"/>
                  <a:gd name="T58" fmla="*/ 3 w 454"/>
                  <a:gd name="T59" fmla="*/ 206 h 358"/>
                  <a:gd name="T60" fmla="*/ 5 w 454"/>
                  <a:gd name="T61" fmla="*/ 210 h 358"/>
                  <a:gd name="T62" fmla="*/ 8 w 454"/>
                  <a:gd name="T63" fmla="*/ 214 h 358"/>
                  <a:gd name="T64" fmla="*/ 145 w 454"/>
                  <a:gd name="T65" fmla="*/ 350 h 358"/>
                  <a:gd name="T66" fmla="*/ 145 w 454"/>
                  <a:gd name="T67" fmla="*/ 350 h 358"/>
                  <a:gd name="T68" fmla="*/ 149 w 454"/>
                  <a:gd name="T69" fmla="*/ 353 h 358"/>
                  <a:gd name="T70" fmla="*/ 153 w 454"/>
                  <a:gd name="T71" fmla="*/ 355 h 358"/>
                  <a:gd name="T72" fmla="*/ 159 w 454"/>
                  <a:gd name="T73" fmla="*/ 357 h 358"/>
                  <a:gd name="T74" fmla="*/ 164 w 454"/>
                  <a:gd name="T75" fmla="*/ 358 h 358"/>
                  <a:gd name="T76" fmla="*/ 169 w 454"/>
                  <a:gd name="T77" fmla="*/ 357 h 358"/>
                  <a:gd name="T78" fmla="*/ 174 w 454"/>
                  <a:gd name="T79" fmla="*/ 355 h 358"/>
                  <a:gd name="T80" fmla="*/ 179 w 454"/>
                  <a:gd name="T81" fmla="*/ 353 h 358"/>
                  <a:gd name="T82" fmla="*/ 183 w 454"/>
                  <a:gd name="T83" fmla="*/ 350 h 358"/>
                  <a:gd name="T84" fmla="*/ 208 w 454"/>
                  <a:gd name="T85" fmla="*/ 324 h 358"/>
                  <a:gd name="T86" fmla="*/ 226 w 454"/>
                  <a:gd name="T87" fmla="*/ 307 h 358"/>
                  <a:gd name="T88" fmla="*/ 446 w 454"/>
                  <a:gd name="T89" fmla="*/ 88 h 358"/>
                  <a:gd name="T90" fmla="*/ 446 w 454"/>
                  <a:gd name="T91" fmla="*/ 88 h 358"/>
                  <a:gd name="T92" fmla="*/ 449 w 454"/>
                  <a:gd name="T93" fmla="*/ 83 h 358"/>
                  <a:gd name="T94" fmla="*/ 452 w 454"/>
                  <a:gd name="T95" fmla="*/ 79 h 358"/>
                  <a:gd name="T96" fmla="*/ 453 w 454"/>
                  <a:gd name="T97" fmla="*/ 73 h 358"/>
                  <a:gd name="T98" fmla="*/ 454 w 454"/>
                  <a:gd name="T99" fmla="*/ 69 h 358"/>
                  <a:gd name="T100" fmla="*/ 453 w 454"/>
                  <a:gd name="T101" fmla="*/ 63 h 358"/>
                  <a:gd name="T102" fmla="*/ 452 w 454"/>
                  <a:gd name="T103" fmla="*/ 59 h 358"/>
                  <a:gd name="T104" fmla="*/ 449 w 454"/>
                  <a:gd name="T105" fmla="*/ 54 h 358"/>
                  <a:gd name="T106" fmla="*/ 446 w 454"/>
                  <a:gd name="T107" fmla="*/ 50 h 358"/>
                  <a:gd name="T108" fmla="*/ 446 w 454"/>
                  <a:gd name="T109" fmla="*/ 50 h 3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454" h="358">
                    <a:moveTo>
                      <a:pt x="446" y="50"/>
                    </a:moveTo>
                    <a:lnTo>
                      <a:pt x="403" y="7"/>
                    </a:lnTo>
                    <a:lnTo>
                      <a:pt x="403" y="7"/>
                    </a:lnTo>
                    <a:lnTo>
                      <a:pt x="399" y="4"/>
                    </a:lnTo>
                    <a:lnTo>
                      <a:pt x="393" y="1"/>
                    </a:lnTo>
                    <a:lnTo>
                      <a:pt x="389" y="0"/>
                    </a:lnTo>
                    <a:lnTo>
                      <a:pt x="383" y="0"/>
                    </a:lnTo>
                    <a:lnTo>
                      <a:pt x="379" y="0"/>
                    </a:lnTo>
                    <a:lnTo>
                      <a:pt x="374" y="1"/>
                    </a:lnTo>
                    <a:lnTo>
                      <a:pt x="369" y="4"/>
                    </a:lnTo>
                    <a:lnTo>
                      <a:pt x="365" y="7"/>
                    </a:lnTo>
                    <a:lnTo>
                      <a:pt x="164" y="207"/>
                    </a:lnTo>
                    <a:lnTo>
                      <a:pt x="90" y="133"/>
                    </a:lnTo>
                    <a:lnTo>
                      <a:pt x="90" y="133"/>
                    </a:lnTo>
                    <a:lnTo>
                      <a:pt x="85" y="130"/>
                    </a:lnTo>
                    <a:lnTo>
                      <a:pt x="81" y="127"/>
                    </a:lnTo>
                    <a:lnTo>
                      <a:pt x="75" y="126"/>
                    </a:lnTo>
                    <a:lnTo>
                      <a:pt x="71" y="125"/>
                    </a:lnTo>
                    <a:lnTo>
                      <a:pt x="65" y="126"/>
                    </a:lnTo>
                    <a:lnTo>
                      <a:pt x="60" y="127"/>
                    </a:lnTo>
                    <a:lnTo>
                      <a:pt x="55" y="130"/>
                    </a:lnTo>
                    <a:lnTo>
                      <a:pt x="51" y="133"/>
                    </a:lnTo>
                    <a:lnTo>
                      <a:pt x="8" y="176"/>
                    </a:lnTo>
                    <a:lnTo>
                      <a:pt x="8" y="176"/>
                    </a:lnTo>
                    <a:lnTo>
                      <a:pt x="5" y="180"/>
                    </a:lnTo>
                    <a:lnTo>
                      <a:pt x="3" y="185"/>
                    </a:lnTo>
                    <a:lnTo>
                      <a:pt x="2" y="190"/>
                    </a:lnTo>
                    <a:lnTo>
                      <a:pt x="0" y="196"/>
                    </a:lnTo>
                    <a:lnTo>
                      <a:pt x="2" y="200"/>
                    </a:lnTo>
                    <a:lnTo>
                      <a:pt x="3" y="206"/>
                    </a:lnTo>
                    <a:lnTo>
                      <a:pt x="5" y="210"/>
                    </a:lnTo>
                    <a:lnTo>
                      <a:pt x="8" y="214"/>
                    </a:lnTo>
                    <a:lnTo>
                      <a:pt x="145" y="350"/>
                    </a:lnTo>
                    <a:lnTo>
                      <a:pt x="145" y="350"/>
                    </a:lnTo>
                    <a:lnTo>
                      <a:pt x="149" y="353"/>
                    </a:lnTo>
                    <a:lnTo>
                      <a:pt x="153" y="355"/>
                    </a:lnTo>
                    <a:lnTo>
                      <a:pt x="159" y="357"/>
                    </a:lnTo>
                    <a:lnTo>
                      <a:pt x="164" y="358"/>
                    </a:lnTo>
                    <a:lnTo>
                      <a:pt x="169" y="357"/>
                    </a:lnTo>
                    <a:lnTo>
                      <a:pt x="174" y="355"/>
                    </a:lnTo>
                    <a:lnTo>
                      <a:pt x="179" y="353"/>
                    </a:lnTo>
                    <a:lnTo>
                      <a:pt x="183" y="350"/>
                    </a:lnTo>
                    <a:lnTo>
                      <a:pt x="208" y="324"/>
                    </a:lnTo>
                    <a:lnTo>
                      <a:pt x="226" y="307"/>
                    </a:lnTo>
                    <a:lnTo>
                      <a:pt x="446" y="88"/>
                    </a:lnTo>
                    <a:lnTo>
                      <a:pt x="446" y="88"/>
                    </a:lnTo>
                    <a:lnTo>
                      <a:pt x="449" y="83"/>
                    </a:lnTo>
                    <a:lnTo>
                      <a:pt x="452" y="79"/>
                    </a:lnTo>
                    <a:lnTo>
                      <a:pt x="453" y="73"/>
                    </a:lnTo>
                    <a:lnTo>
                      <a:pt x="454" y="69"/>
                    </a:lnTo>
                    <a:lnTo>
                      <a:pt x="453" y="63"/>
                    </a:lnTo>
                    <a:lnTo>
                      <a:pt x="452" y="59"/>
                    </a:lnTo>
                    <a:lnTo>
                      <a:pt x="449" y="54"/>
                    </a:lnTo>
                    <a:lnTo>
                      <a:pt x="446" y="50"/>
                    </a:lnTo>
                    <a:lnTo>
                      <a:pt x="446" y="50"/>
                    </a:ln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28" name="Group 27"/>
            <p:cNvGrpSpPr/>
            <p:nvPr/>
          </p:nvGrpSpPr>
          <p:grpSpPr>
            <a:xfrm>
              <a:off x="5018111" y="4375444"/>
              <a:ext cx="385267" cy="383350"/>
              <a:chOff x="10687827" y="4481265"/>
              <a:chExt cx="237233" cy="236053"/>
            </a:xfrm>
            <a:solidFill>
              <a:srgbClr val="F2584E"/>
            </a:solidFill>
          </p:grpSpPr>
          <p:sp>
            <p:nvSpPr>
              <p:cNvPr id="29" name="Freeform 1071"/>
              <p:cNvSpPr>
                <a:spLocks noEditPoints="1"/>
              </p:cNvSpPr>
              <p:nvPr/>
            </p:nvSpPr>
            <p:spPr bwMode="auto">
              <a:xfrm>
                <a:off x="10687827" y="4481265"/>
                <a:ext cx="237233" cy="236053"/>
              </a:xfrm>
              <a:custGeom>
                <a:avLst/>
                <a:gdLst>
                  <a:gd name="T0" fmla="*/ 997 w 1003"/>
                  <a:gd name="T1" fmla="*/ 576 h 1000"/>
                  <a:gd name="T2" fmla="*/ 963 w 1003"/>
                  <a:gd name="T3" fmla="*/ 694 h 1000"/>
                  <a:gd name="T4" fmla="*/ 903 w 1003"/>
                  <a:gd name="T5" fmla="*/ 799 h 1000"/>
                  <a:gd name="T6" fmla="*/ 820 w 1003"/>
                  <a:gd name="T7" fmla="*/ 886 h 1000"/>
                  <a:gd name="T8" fmla="*/ 719 w 1003"/>
                  <a:gd name="T9" fmla="*/ 950 h 1000"/>
                  <a:gd name="T10" fmla="*/ 602 w 1003"/>
                  <a:gd name="T11" fmla="*/ 990 h 1000"/>
                  <a:gd name="T12" fmla="*/ 501 w 1003"/>
                  <a:gd name="T13" fmla="*/ 1000 h 1000"/>
                  <a:gd name="T14" fmla="*/ 376 w 1003"/>
                  <a:gd name="T15" fmla="*/ 984 h 1000"/>
                  <a:gd name="T16" fmla="*/ 262 w 1003"/>
                  <a:gd name="T17" fmla="*/ 939 h 1000"/>
                  <a:gd name="T18" fmla="*/ 164 w 1003"/>
                  <a:gd name="T19" fmla="*/ 870 h 1000"/>
                  <a:gd name="T20" fmla="*/ 85 w 1003"/>
                  <a:gd name="T21" fmla="*/ 779 h 1000"/>
                  <a:gd name="T22" fmla="*/ 30 w 1003"/>
                  <a:gd name="T23" fmla="*/ 672 h 1000"/>
                  <a:gd name="T24" fmla="*/ 3 w 1003"/>
                  <a:gd name="T25" fmla="*/ 551 h 1000"/>
                  <a:gd name="T26" fmla="*/ 3 w 1003"/>
                  <a:gd name="T27" fmla="*/ 449 h 1000"/>
                  <a:gd name="T28" fmla="*/ 30 w 1003"/>
                  <a:gd name="T29" fmla="*/ 329 h 1000"/>
                  <a:gd name="T30" fmla="*/ 85 w 1003"/>
                  <a:gd name="T31" fmla="*/ 221 h 1000"/>
                  <a:gd name="T32" fmla="*/ 164 w 1003"/>
                  <a:gd name="T33" fmla="*/ 130 h 1000"/>
                  <a:gd name="T34" fmla="*/ 262 w 1003"/>
                  <a:gd name="T35" fmla="*/ 61 h 1000"/>
                  <a:gd name="T36" fmla="*/ 376 w 1003"/>
                  <a:gd name="T37" fmla="*/ 17 h 1000"/>
                  <a:gd name="T38" fmla="*/ 501 w 1003"/>
                  <a:gd name="T39" fmla="*/ 0 h 1000"/>
                  <a:gd name="T40" fmla="*/ 602 w 1003"/>
                  <a:gd name="T41" fmla="*/ 10 h 1000"/>
                  <a:gd name="T42" fmla="*/ 719 w 1003"/>
                  <a:gd name="T43" fmla="*/ 50 h 1000"/>
                  <a:gd name="T44" fmla="*/ 820 w 1003"/>
                  <a:gd name="T45" fmla="*/ 115 h 1000"/>
                  <a:gd name="T46" fmla="*/ 903 w 1003"/>
                  <a:gd name="T47" fmla="*/ 201 h 1000"/>
                  <a:gd name="T48" fmla="*/ 963 w 1003"/>
                  <a:gd name="T49" fmla="*/ 305 h 1000"/>
                  <a:gd name="T50" fmla="*/ 997 w 1003"/>
                  <a:gd name="T51" fmla="*/ 424 h 1000"/>
                  <a:gd name="T52" fmla="*/ 511 w 1003"/>
                  <a:gd name="T53" fmla="*/ 111 h 1000"/>
                  <a:gd name="T54" fmla="*/ 433 w 1003"/>
                  <a:gd name="T55" fmla="*/ 119 h 1000"/>
                  <a:gd name="T56" fmla="*/ 342 w 1003"/>
                  <a:gd name="T57" fmla="*/ 150 h 1000"/>
                  <a:gd name="T58" fmla="*/ 263 w 1003"/>
                  <a:gd name="T59" fmla="*/ 200 h 1000"/>
                  <a:gd name="T60" fmla="*/ 198 w 1003"/>
                  <a:gd name="T61" fmla="*/ 268 h 1000"/>
                  <a:gd name="T62" fmla="*/ 151 w 1003"/>
                  <a:gd name="T63" fmla="*/ 348 h 1000"/>
                  <a:gd name="T64" fmla="*/ 126 w 1003"/>
                  <a:gd name="T65" fmla="*/ 441 h 1000"/>
                  <a:gd name="T66" fmla="*/ 121 w 1003"/>
                  <a:gd name="T67" fmla="*/ 520 h 1000"/>
                  <a:gd name="T68" fmla="*/ 138 w 1003"/>
                  <a:gd name="T69" fmla="*/ 616 h 1000"/>
                  <a:gd name="T70" fmla="*/ 178 w 1003"/>
                  <a:gd name="T71" fmla="*/ 702 h 1000"/>
                  <a:gd name="T72" fmla="*/ 235 w 1003"/>
                  <a:gd name="T73" fmla="*/ 775 h 1000"/>
                  <a:gd name="T74" fmla="*/ 309 w 1003"/>
                  <a:gd name="T75" fmla="*/ 832 h 1000"/>
                  <a:gd name="T76" fmla="*/ 395 w 1003"/>
                  <a:gd name="T77" fmla="*/ 872 h 1000"/>
                  <a:gd name="T78" fmla="*/ 491 w 1003"/>
                  <a:gd name="T79" fmla="*/ 888 h 1000"/>
                  <a:gd name="T80" fmla="*/ 570 w 1003"/>
                  <a:gd name="T81" fmla="*/ 884 h 1000"/>
                  <a:gd name="T82" fmla="*/ 663 w 1003"/>
                  <a:gd name="T83" fmla="*/ 859 h 1000"/>
                  <a:gd name="T84" fmla="*/ 744 w 1003"/>
                  <a:gd name="T85" fmla="*/ 811 h 1000"/>
                  <a:gd name="T86" fmla="*/ 813 w 1003"/>
                  <a:gd name="T87" fmla="*/ 747 h 1000"/>
                  <a:gd name="T88" fmla="*/ 863 w 1003"/>
                  <a:gd name="T89" fmla="*/ 669 h 1000"/>
                  <a:gd name="T90" fmla="*/ 893 w 1003"/>
                  <a:gd name="T91" fmla="*/ 579 h 1000"/>
                  <a:gd name="T92" fmla="*/ 902 w 1003"/>
                  <a:gd name="T93" fmla="*/ 500 h 1000"/>
                  <a:gd name="T94" fmla="*/ 889 w 1003"/>
                  <a:gd name="T95" fmla="*/ 403 h 1000"/>
                  <a:gd name="T96" fmla="*/ 854 w 1003"/>
                  <a:gd name="T97" fmla="*/ 315 h 1000"/>
                  <a:gd name="T98" fmla="*/ 799 w 1003"/>
                  <a:gd name="T99" fmla="*/ 239 h 1000"/>
                  <a:gd name="T100" fmla="*/ 729 w 1003"/>
                  <a:gd name="T101" fmla="*/ 178 h 1000"/>
                  <a:gd name="T102" fmla="*/ 645 w 1003"/>
                  <a:gd name="T103" fmla="*/ 135 h 1000"/>
                  <a:gd name="T104" fmla="*/ 551 w 1003"/>
                  <a:gd name="T105" fmla="*/ 114 h 10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003" h="1000">
                    <a:moveTo>
                      <a:pt x="1003" y="500"/>
                    </a:moveTo>
                    <a:lnTo>
                      <a:pt x="1003" y="500"/>
                    </a:lnTo>
                    <a:lnTo>
                      <a:pt x="1002" y="526"/>
                    </a:lnTo>
                    <a:lnTo>
                      <a:pt x="1001" y="551"/>
                    </a:lnTo>
                    <a:lnTo>
                      <a:pt x="997" y="576"/>
                    </a:lnTo>
                    <a:lnTo>
                      <a:pt x="993" y="601"/>
                    </a:lnTo>
                    <a:lnTo>
                      <a:pt x="988" y="625"/>
                    </a:lnTo>
                    <a:lnTo>
                      <a:pt x="980" y="649"/>
                    </a:lnTo>
                    <a:lnTo>
                      <a:pt x="972" y="672"/>
                    </a:lnTo>
                    <a:lnTo>
                      <a:pt x="963" y="694"/>
                    </a:lnTo>
                    <a:lnTo>
                      <a:pt x="953" y="716"/>
                    </a:lnTo>
                    <a:lnTo>
                      <a:pt x="942" y="738"/>
                    </a:lnTo>
                    <a:lnTo>
                      <a:pt x="930" y="759"/>
                    </a:lnTo>
                    <a:lnTo>
                      <a:pt x="917" y="779"/>
                    </a:lnTo>
                    <a:lnTo>
                      <a:pt x="903" y="799"/>
                    </a:lnTo>
                    <a:lnTo>
                      <a:pt x="889" y="818"/>
                    </a:lnTo>
                    <a:lnTo>
                      <a:pt x="873" y="837"/>
                    </a:lnTo>
                    <a:lnTo>
                      <a:pt x="856" y="853"/>
                    </a:lnTo>
                    <a:lnTo>
                      <a:pt x="839" y="870"/>
                    </a:lnTo>
                    <a:lnTo>
                      <a:pt x="820" y="886"/>
                    </a:lnTo>
                    <a:lnTo>
                      <a:pt x="802" y="900"/>
                    </a:lnTo>
                    <a:lnTo>
                      <a:pt x="782" y="915"/>
                    </a:lnTo>
                    <a:lnTo>
                      <a:pt x="762" y="928"/>
                    </a:lnTo>
                    <a:lnTo>
                      <a:pt x="740" y="939"/>
                    </a:lnTo>
                    <a:lnTo>
                      <a:pt x="719" y="950"/>
                    </a:lnTo>
                    <a:lnTo>
                      <a:pt x="697" y="961"/>
                    </a:lnTo>
                    <a:lnTo>
                      <a:pt x="674" y="970"/>
                    </a:lnTo>
                    <a:lnTo>
                      <a:pt x="651" y="978"/>
                    </a:lnTo>
                    <a:lnTo>
                      <a:pt x="627" y="984"/>
                    </a:lnTo>
                    <a:lnTo>
                      <a:pt x="602" y="990"/>
                    </a:lnTo>
                    <a:lnTo>
                      <a:pt x="578" y="994"/>
                    </a:lnTo>
                    <a:lnTo>
                      <a:pt x="553" y="997"/>
                    </a:lnTo>
                    <a:lnTo>
                      <a:pt x="528" y="1000"/>
                    </a:lnTo>
                    <a:lnTo>
                      <a:pt x="501" y="1000"/>
                    </a:lnTo>
                    <a:lnTo>
                      <a:pt x="501" y="1000"/>
                    </a:lnTo>
                    <a:lnTo>
                      <a:pt x="476" y="1000"/>
                    </a:lnTo>
                    <a:lnTo>
                      <a:pt x="450" y="997"/>
                    </a:lnTo>
                    <a:lnTo>
                      <a:pt x="425" y="994"/>
                    </a:lnTo>
                    <a:lnTo>
                      <a:pt x="400" y="990"/>
                    </a:lnTo>
                    <a:lnTo>
                      <a:pt x="376" y="984"/>
                    </a:lnTo>
                    <a:lnTo>
                      <a:pt x="353" y="978"/>
                    </a:lnTo>
                    <a:lnTo>
                      <a:pt x="329" y="970"/>
                    </a:lnTo>
                    <a:lnTo>
                      <a:pt x="306" y="961"/>
                    </a:lnTo>
                    <a:lnTo>
                      <a:pt x="284" y="950"/>
                    </a:lnTo>
                    <a:lnTo>
                      <a:pt x="262" y="939"/>
                    </a:lnTo>
                    <a:lnTo>
                      <a:pt x="241" y="928"/>
                    </a:lnTo>
                    <a:lnTo>
                      <a:pt x="220" y="915"/>
                    </a:lnTo>
                    <a:lnTo>
                      <a:pt x="202" y="900"/>
                    </a:lnTo>
                    <a:lnTo>
                      <a:pt x="182" y="886"/>
                    </a:lnTo>
                    <a:lnTo>
                      <a:pt x="164" y="870"/>
                    </a:lnTo>
                    <a:lnTo>
                      <a:pt x="147" y="853"/>
                    </a:lnTo>
                    <a:lnTo>
                      <a:pt x="130" y="837"/>
                    </a:lnTo>
                    <a:lnTo>
                      <a:pt x="115" y="818"/>
                    </a:lnTo>
                    <a:lnTo>
                      <a:pt x="99" y="799"/>
                    </a:lnTo>
                    <a:lnTo>
                      <a:pt x="85" y="779"/>
                    </a:lnTo>
                    <a:lnTo>
                      <a:pt x="72" y="759"/>
                    </a:lnTo>
                    <a:lnTo>
                      <a:pt x="61" y="738"/>
                    </a:lnTo>
                    <a:lnTo>
                      <a:pt x="49" y="716"/>
                    </a:lnTo>
                    <a:lnTo>
                      <a:pt x="39" y="694"/>
                    </a:lnTo>
                    <a:lnTo>
                      <a:pt x="30" y="672"/>
                    </a:lnTo>
                    <a:lnTo>
                      <a:pt x="22" y="649"/>
                    </a:lnTo>
                    <a:lnTo>
                      <a:pt x="16" y="625"/>
                    </a:lnTo>
                    <a:lnTo>
                      <a:pt x="10" y="601"/>
                    </a:lnTo>
                    <a:lnTo>
                      <a:pt x="6" y="576"/>
                    </a:lnTo>
                    <a:lnTo>
                      <a:pt x="3" y="551"/>
                    </a:lnTo>
                    <a:lnTo>
                      <a:pt x="0" y="526"/>
                    </a:lnTo>
                    <a:lnTo>
                      <a:pt x="0" y="500"/>
                    </a:lnTo>
                    <a:lnTo>
                      <a:pt x="0" y="500"/>
                    </a:lnTo>
                    <a:lnTo>
                      <a:pt x="0" y="474"/>
                    </a:lnTo>
                    <a:lnTo>
                      <a:pt x="3" y="449"/>
                    </a:lnTo>
                    <a:lnTo>
                      <a:pt x="6" y="424"/>
                    </a:lnTo>
                    <a:lnTo>
                      <a:pt x="10" y="399"/>
                    </a:lnTo>
                    <a:lnTo>
                      <a:pt x="16" y="375"/>
                    </a:lnTo>
                    <a:lnTo>
                      <a:pt x="22" y="352"/>
                    </a:lnTo>
                    <a:lnTo>
                      <a:pt x="30" y="329"/>
                    </a:lnTo>
                    <a:lnTo>
                      <a:pt x="39" y="305"/>
                    </a:lnTo>
                    <a:lnTo>
                      <a:pt x="49" y="283"/>
                    </a:lnTo>
                    <a:lnTo>
                      <a:pt x="61" y="262"/>
                    </a:lnTo>
                    <a:lnTo>
                      <a:pt x="72" y="241"/>
                    </a:lnTo>
                    <a:lnTo>
                      <a:pt x="85" y="221"/>
                    </a:lnTo>
                    <a:lnTo>
                      <a:pt x="99" y="201"/>
                    </a:lnTo>
                    <a:lnTo>
                      <a:pt x="115" y="182"/>
                    </a:lnTo>
                    <a:lnTo>
                      <a:pt x="130" y="164"/>
                    </a:lnTo>
                    <a:lnTo>
                      <a:pt x="147" y="147"/>
                    </a:lnTo>
                    <a:lnTo>
                      <a:pt x="164" y="130"/>
                    </a:lnTo>
                    <a:lnTo>
                      <a:pt x="182" y="115"/>
                    </a:lnTo>
                    <a:lnTo>
                      <a:pt x="202" y="99"/>
                    </a:lnTo>
                    <a:lnTo>
                      <a:pt x="220" y="86"/>
                    </a:lnTo>
                    <a:lnTo>
                      <a:pt x="241" y="73"/>
                    </a:lnTo>
                    <a:lnTo>
                      <a:pt x="262" y="61"/>
                    </a:lnTo>
                    <a:lnTo>
                      <a:pt x="284" y="50"/>
                    </a:lnTo>
                    <a:lnTo>
                      <a:pt x="306" y="40"/>
                    </a:lnTo>
                    <a:lnTo>
                      <a:pt x="329" y="31"/>
                    </a:lnTo>
                    <a:lnTo>
                      <a:pt x="353" y="23"/>
                    </a:lnTo>
                    <a:lnTo>
                      <a:pt x="376" y="17"/>
                    </a:lnTo>
                    <a:lnTo>
                      <a:pt x="400" y="10"/>
                    </a:lnTo>
                    <a:lnTo>
                      <a:pt x="425" y="6"/>
                    </a:lnTo>
                    <a:lnTo>
                      <a:pt x="450" y="3"/>
                    </a:lnTo>
                    <a:lnTo>
                      <a:pt x="476" y="1"/>
                    </a:lnTo>
                    <a:lnTo>
                      <a:pt x="501" y="0"/>
                    </a:lnTo>
                    <a:lnTo>
                      <a:pt x="501" y="0"/>
                    </a:lnTo>
                    <a:lnTo>
                      <a:pt x="528" y="1"/>
                    </a:lnTo>
                    <a:lnTo>
                      <a:pt x="553" y="3"/>
                    </a:lnTo>
                    <a:lnTo>
                      <a:pt x="578" y="6"/>
                    </a:lnTo>
                    <a:lnTo>
                      <a:pt x="602" y="10"/>
                    </a:lnTo>
                    <a:lnTo>
                      <a:pt x="627" y="17"/>
                    </a:lnTo>
                    <a:lnTo>
                      <a:pt x="651" y="23"/>
                    </a:lnTo>
                    <a:lnTo>
                      <a:pt x="674" y="31"/>
                    </a:lnTo>
                    <a:lnTo>
                      <a:pt x="697" y="40"/>
                    </a:lnTo>
                    <a:lnTo>
                      <a:pt x="719" y="50"/>
                    </a:lnTo>
                    <a:lnTo>
                      <a:pt x="740" y="61"/>
                    </a:lnTo>
                    <a:lnTo>
                      <a:pt x="762" y="73"/>
                    </a:lnTo>
                    <a:lnTo>
                      <a:pt x="782" y="86"/>
                    </a:lnTo>
                    <a:lnTo>
                      <a:pt x="802" y="99"/>
                    </a:lnTo>
                    <a:lnTo>
                      <a:pt x="820" y="115"/>
                    </a:lnTo>
                    <a:lnTo>
                      <a:pt x="839" y="130"/>
                    </a:lnTo>
                    <a:lnTo>
                      <a:pt x="856" y="147"/>
                    </a:lnTo>
                    <a:lnTo>
                      <a:pt x="873" y="164"/>
                    </a:lnTo>
                    <a:lnTo>
                      <a:pt x="889" y="182"/>
                    </a:lnTo>
                    <a:lnTo>
                      <a:pt x="903" y="201"/>
                    </a:lnTo>
                    <a:lnTo>
                      <a:pt x="917" y="221"/>
                    </a:lnTo>
                    <a:lnTo>
                      <a:pt x="930" y="241"/>
                    </a:lnTo>
                    <a:lnTo>
                      <a:pt x="942" y="262"/>
                    </a:lnTo>
                    <a:lnTo>
                      <a:pt x="953" y="283"/>
                    </a:lnTo>
                    <a:lnTo>
                      <a:pt x="963" y="305"/>
                    </a:lnTo>
                    <a:lnTo>
                      <a:pt x="972" y="329"/>
                    </a:lnTo>
                    <a:lnTo>
                      <a:pt x="980" y="352"/>
                    </a:lnTo>
                    <a:lnTo>
                      <a:pt x="988" y="375"/>
                    </a:lnTo>
                    <a:lnTo>
                      <a:pt x="993" y="399"/>
                    </a:lnTo>
                    <a:lnTo>
                      <a:pt x="997" y="424"/>
                    </a:lnTo>
                    <a:lnTo>
                      <a:pt x="1001" y="449"/>
                    </a:lnTo>
                    <a:lnTo>
                      <a:pt x="1002" y="474"/>
                    </a:lnTo>
                    <a:lnTo>
                      <a:pt x="1003" y="500"/>
                    </a:lnTo>
                    <a:lnTo>
                      <a:pt x="1003" y="500"/>
                    </a:lnTo>
                    <a:close/>
                    <a:moveTo>
                      <a:pt x="511" y="111"/>
                    </a:moveTo>
                    <a:lnTo>
                      <a:pt x="511" y="111"/>
                    </a:lnTo>
                    <a:lnTo>
                      <a:pt x="491" y="111"/>
                    </a:lnTo>
                    <a:lnTo>
                      <a:pt x="471" y="114"/>
                    </a:lnTo>
                    <a:lnTo>
                      <a:pt x="452" y="116"/>
                    </a:lnTo>
                    <a:lnTo>
                      <a:pt x="433" y="119"/>
                    </a:lnTo>
                    <a:lnTo>
                      <a:pt x="413" y="124"/>
                    </a:lnTo>
                    <a:lnTo>
                      <a:pt x="395" y="129"/>
                    </a:lnTo>
                    <a:lnTo>
                      <a:pt x="377" y="135"/>
                    </a:lnTo>
                    <a:lnTo>
                      <a:pt x="359" y="142"/>
                    </a:lnTo>
                    <a:lnTo>
                      <a:pt x="342" y="150"/>
                    </a:lnTo>
                    <a:lnTo>
                      <a:pt x="325" y="159"/>
                    </a:lnTo>
                    <a:lnTo>
                      <a:pt x="309" y="168"/>
                    </a:lnTo>
                    <a:lnTo>
                      <a:pt x="293" y="178"/>
                    </a:lnTo>
                    <a:lnTo>
                      <a:pt x="278" y="189"/>
                    </a:lnTo>
                    <a:lnTo>
                      <a:pt x="263" y="200"/>
                    </a:lnTo>
                    <a:lnTo>
                      <a:pt x="249" y="213"/>
                    </a:lnTo>
                    <a:lnTo>
                      <a:pt x="235" y="225"/>
                    </a:lnTo>
                    <a:lnTo>
                      <a:pt x="223" y="239"/>
                    </a:lnTo>
                    <a:lnTo>
                      <a:pt x="209" y="252"/>
                    </a:lnTo>
                    <a:lnTo>
                      <a:pt x="198" y="268"/>
                    </a:lnTo>
                    <a:lnTo>
                      <a:pt x="187" y="282"/>
                    </a:lnTo>
                    <a:lnTo>
                      <a:pt x="178" y="299"/>
                    </a:lnTo>
                    <a:lnTo>
                      <a:pt x="168" y="315"/>
                    </a:lnTo>
                    <a:lnTo>
                      <a:pt x="159" y="332"/>
                    </a:lnTo>
                    <a:lnTo>
                      <a:pt x="151" y="348"/>
                    </a:lnTo>
                    <a:lnTo>
                      <a:pt x="145" y="366"/>
                    </a:lnTo>
                    <a:lnTo>
                      <a:pt x="138" y="385"/>
                    </a:lnTo>
                    <a:lnTo>
                      <a:pt x="134" y="403"/>
                    </a:lnTo>
                    <a:lnTo>
                      <a:pt x="129" y="422"/>
                    </a:lnTo>
                    <a:lnTo>
                      <a:pt x="126" y="441"/>
                    </a:lnTo>
                    <a:lnTo>
                      <a:pt x="123" y="461"/>
                    </a:lnTo>
                    <a:lnTo>
                      <a:pt x="121" y="481"/>
                    </a:lnTo>
                    <a:lnTo>
                      <a:pt x="121" y="500"/>
                    </a:lnTo>
                    <a:lnTo>
                      <a:pt x="121" y="500"/>
                    </a:lnTo>
                    <a:lnTo>
                      <a:pt x="121" y="520"/>
                    </a:lnTo>
                    <a:lnTo>
                      <a:pt x="123" y="540"/>
                    </a:lnTo>
                    <a:lnTo>
                      <a:pt x="126" y="559"/>
                    </a:lnTo>
                    <a:lnTo>
                      <a:pt x="129" y="579"/>
                    </a:lnTo>
                    <a:lnTo>
                      <a:pt x="134" y="597"/>
                    </a:lnTo>
                    <a:lnTo>
                      <a:pt x="138" y="616"/>
                    </a:lnTo>
                    <a:lnTo>
                      <a:pt x="145" y="634"/>
                    </a:lnTo>
                    <a:lnTo>
                      <a:pt x="151" y="651"/>
                    </a:lnTo>
                    <a:lnTo>
                      <a:pt x="159" y="669"/>
                    </a:lnTo>
                    <a:lnTo>
                      <a:pt x="168" y="686"/>
                    </a:lnTo>
                    <a:lnTo>
                      <a:pt x="178" y="702"/>
                    </a:lnTo>
                    <a:lnTo>
                      <a:pt x="187" y="718"/>
                    </a:lnTo>
                    <a:lnTo>
                      <a:pt x="198" y="733"/>
                    </a:lnTo>
                    <a:lnTo>
                      <a:pt x="209" y="747"/>
                    </a:lnTo>
                    <a:lnTo>
                      <a:pt x="223" y="762"/>
                    </a:lnTo>
                    <a:lnTo>
                      <a:pt x="235" y="775"/>
                    </a:lnTo>
                    <a:lnTo>
                      <a:pt x="249" y="788"/>
                    </a:lnTo>
                    <a:lnTo>
                      <a:pt x="263" y="800"/>
                    </a:lnTo>
                    <a:lnTo>
                      <a:pt x="278" y="811"/>
                    </a:lnTo>
                    <a:lnTo>
                      <a:pt x="293" y="822"/>
                    </a:lnTo>
                    <a:lnTo>
                      <a:pt x="309" y="832"/>
                    </a:lnTo>
                    <a:lnTo>
                      <a:pt x="325" y="842"/>
                    </a:lnTo>
                    <a:lnTo>
                      <a:pt x="342" y="851"/>
                    </a:lnTo>
                    <a:lnTo>
                      <a:pt x="359" y="859"/>
                    </a:lnTo>
                    <a:lnTo>
                      <a:pt x="377" y="865"/>
                    </a:lnTo>
                    <a:lnTo>
                      <a:pt x="395" y="872"/>
                    </a:lnTo>
                    <a:lnTo>
                      <a:pt x="413" y="876"/>
                    </a:lnTo>
                    <a:lnTo>
                      <a:pt x="433" y="881"/>
                    </a:lnTo>
                    <a:lnTo>
                      <a:pt x="452" y="884"/>
                    </a:lnTo>
                    <a:lnTo>
                      <a:pt x="471" y="887"/>
                    </a:lnTo>
                    <a:lnTo>
                      <a:pt x="491" y="888"/>
                    </a:lnTo>
                    <a:lnTo>
                      <a:pt x="511" y="888"/>
                    </a:lnTo>
                    <a:lnTo>
                      <a:pt x="511" y="888"/>
                    </a:lnTo>
                    <a:lnTo>
                      <a:pt x="531" y="888"/>
                    </a:lnTo>
                    <a:lnTo>
                      <a:pt x="551" y="887"/>
                    </a:lnTo>
                    <a:lnTo>
                      <a:pt x="570" y="884"/>
                    </a:lnTo>
                    <a:lnTo>
                      <a:pt x="589" y="881"/>
                    </a:lnTo>
                    <a:lnTo>
                      <a:pt x="609" y="876"/>
                    </a:lnTo>
                    <a:lnTo>
                      <a:pt x="627" y="872"/>
                    </a:lnTo>
                    <a:lnTo>
                      <a:pt x="645" y="865"/>
                    </a:lnTo>
                    <a:lnTo>
                      <a:pt x="663" y="859"/>
                    </a:lnTo>
                    <a:lnTo>
                      <a:pt x="681" y="851"/>
                    </a:lnTo>
                    <a:lnTo>
                      <a:pt x="697" y="842"/>
                    </a:lnTo>
                    <a:lnTo>
                      <a:pt x="714" y="832"/>
                    </a:lnTo>
                    <a:lnTo>
                      <a:pt x="729" y="822"/>
                    </a:lnTo>
                    <a:lnTo>
                      <a:pt x="744" y="811"/>
                    </a:lnTo>
                    <a:lnTo>
                      <a:pt x="760" y="800"/>
                    </a:lnTo>
                    <a:lnTo>
                      <a:pt x="773" y="788"/>
                    </a:lnTo>
                    <a:lnTo>
                      <a:pt x="787" y="775"/>
                    </a:lnTo>
                    <a:lnTo>
                      <a:pt x="799" y="762"/>
                    </a:lnTo>
                    <a:lnTo>
                      <a:pt x="813" y="747"/>
                    </a:lnTo>
                    <a:lnTo>
                      <a:pt x="824" y="733"/>
                    </a:lnTo>
                    <a:lnTo>
                      <a:pt x="835" y="718"/>
                    </a:lnTo>
                    <a:lnTo>
                      <a:pt x="845" y="702"/>
                    </a:lnTo>
                    <a:lnTo>
                      <a:pt x="854" y="686"/>
                    </a:lnTo>
                    <a:lnTo>
                      <a:pt x="863" y="669"/>
                    </a:lnTo>
                    <a:lnTo>
                      <a:pt x="871" y="651"/>
                    </a:lnTo>
                    <a:lnTo>
                      <a:pt x="878" y="634"/>
                    </a:lnTo>
                    <a:lnTo>
                      <a:pt x="884" y="616"/>
                    </a:lnTo>
                    <a:lnTo>
                      <a:pt x="889" y="597"/>
                    </a:lnTo>
                    <a:lnTo>
                      <a:pt x="893" y="579"/>
                    </a:lnTo>
                    <a:lnTo>
                      <a:pt x="896" y="559"/>
                    </a:lnTo>
                    <a:lnTo>
                      <a:pt x="900" y="540"/>
                    </a:lnTo>
                    <a:lnTo>
                      <a:pt x="901" y="520"/>
                    </a:lnTo>
                    <a:lnTo>
                      <a:pt x="902" y="500"/>
                    </a:lnTo>
                    <a:lnTo>
                      <a:pt x="902" y="500"/>
                    </a:lnTo>
                    <a:lnTo>
                      <a:pt x="901" y="481"/>
                    </a:lnTo>
                    <a:lnTo>
                      <a:pt x="900" y="461"/>
                    </a:lnTo>
                    <a:lnTo>
                      <a:pt x="896" y="441"/>
                    </a:lnTo>
                    <a:lnTo>
                      <a:pt x="893" y="422"/>
                    </a:lnTo>
                    <a:lnTo>
                      <a:pt x="889" y="403"/>
                    </a:lnTo>
                    <a:lnTo>
                      <a:pt x="884" y="385"/>
                    </a:lnTo>
                    <a:lnTo>
                      <a:pt x="878" y="366"/>
                    </a:lnTo>
                    <a:lnTo>
                      <a:pt x="871" y="348"/>
                    </a:lnTo>
                    <a:lnTo>
                      <a:pt x="863" y="332"/>
                    </a:lnTo>
                    <a:lnTo>
                      <a:pt x="854" y="315"/>
                    </a:lnTo>
                    <a:lnTo>
                      <a:pt x="845" y="299"/>
                    </a:lnTo>
                    <a:lnTo>
                      <a:pt x="835" y="282"/>
                    </a:lnTo>
                    <a:lnTo>
                      <a:pt x="824" y="268"/>
                    </a:lnTo>
                    <a:lnTo>
                      <a:pt x="813" y="252"/>
                    </a:lnTo>
                    <a:lnTo>
                      <a:pt x="799" y="239"/>
                    </a:lnTo>
                    <a:lnTo>
                      <a:pt x="787" y="225"/>
                    </a:lnTo>
                    <a:lnTo>
                      <a:pt x="773" y="213"/>
                    </a:lnTo>
                    <a:lnTo>
                      <a:pt x="760" y="200"/>
                    </a:lnTo>
                    <a:lnTo>
                      <a:pt x="744" y="189"/>
                    </a:lnTo>
                    <a:lnTo>
                      <a:pt x="729" y="178"/>
                    </a:lnTo>
                    <a:lnTo>
                      <a:pt x="714" y="168"/>
                    </a:lnTo>
                    <a:lnTo>
                      <a:pt x="697" y="159"/>
                    </a:lnTo>
                    <a:lnTo>
                      <a:pt x="681" y="150"/>
                    </a:lnTo>
                    <a:lnTo>
                      <a:pt x="663" y="142"/>
                    </a:lnTo>
                    <a:lnTo>
                      <a:pt x="645" y="135"/>
                    </a:lnTo>
                    <a:lnTo>
                      <a:pt x="627" y="129"/>
                    </a:lnTo>
                    <a:lnTo>
                      <a:pt x="609" y="124"/>
                    </a:lnTo>
                    <a:lnTo>
                      <a:pt x="589" y="119"/>
                    </a:lnTo>
                    <a:lnTo>
                      <a:pt x="570" y="116"/>
                    </a:lnTo>
                    <a:lnTo>
                      <a:pt x="551" y="114"/>
                    </a:lnTo>
                    <a:lnTo>
                      <a:pt x="531" y="111"/>
                    </a:lnTo>
                    <a:lnTo>
                      <a:pt x="511" y="111"/>
                    </a:lnTo>
                    <a:lnTo>
                      <a:pt x="511" y="111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chemeClr val="bg1"/>
                  </a:solidFill>
                </a:endParaRPr>
              </a:p>
            </p:txBody>
          </p:sp>
          <p:sp>
            <p:nvSpPr>
              <p:cNvPr id="30" name="Freeform 1072"/>
              <p:cNvSpPr>
                <a:spLocks/>
              </p:cNvSpPr>
              <p:nvPr/>
            </p:nvSpPr>
            <p:spPr bwMode="auto">
              <a:xfrm>
                <a:off x="10758643" y="4559159"/>
                <a:ext cx="106224" cy="83799"/>
              </a:xfrm>
              <a:custGeom>
                <a:avLst/>
                <a:gdLst>
                  <a:gd name="T0" fmla="*/ 446 w 454"/>
                  <a:gd name="T1" fmla="*/ 50 h 358"/>
                  <a:gd name="T2" fmla="*/ 403 w 454"/>
                  <a:gd name="T3" fmla="*/ 7 h 358"/>
                  <a:gd name="T4" fmla="*/ 403 w 454"/>
                  <a:gd name="T5" fmla="*/ 7 h 358"/>
                  <a:gd name="T6" fmla="*/ 399 w 454"/>
                  <a:gd name="T7" fmla="*/ 4 h 358"/>
                  <a:gd name="T8" fmla="*/ 393 w 454"/>
                  <a:gd name="T9" fmla="*/ 1 h 358"/>
                  <a:gd name="T10" fmla="*/ 389 w 454"/>
                  <a:gd name="T11" fmla="*/ 0 h 358"/>
                  <a:gd name="T12" fmla="*/ 383 w 454"/>
                  <a:gd name="T13" fmla="*/ 0 h 358"/>
                  <a:gd name="T14" fmla="*/ 379 w 454"/>
                  <a:gd name="T15" fmla="*/ 0 h 358"/>
                  <a:gd name="T16" fmla="*/ 374 w 454"/>
                  <a:gd name="T17" fmla="*/ 1 h 358"/>
                  <a:gd name="T18" fmla="*/ 369 w 454"/>
                  <a:gd name="T19" fmla="*/ 4 h 358"/>
                  <a:gd name="T20" fmla="*/ 365 w 454"/>
                  <a:gd name="T21" fmla="*/ 7 h 358"/>
                  <a:gd name="T22" fmla="*/ 164 w 454"/>
                  <a:gd name="T23" fmla="*/ 207 h 358"/>
                  <a:gd name="T24" fmla="*/ 90 w 454"/>
                  <a:gd name="T25" fmla="*/ 133 h 358"/>
                  <a:gd name="T26" fmla="*/ 90 w 454"/>
                  <a:gd name="T27" fmla="*/ 133 h 358"/>
                  <a:gd name="T28" fmla="*/ 85 w 454"/>
                  <a:gd name="T29" fmla="*/ 130 h 358"/>
                  <a:gd name="T30" fmla="*/ 81 w 454"/>
                  <a:gd name="T31" fmla="*/ 127 h 358"/>
                  <a:gd name="T32" fmla="*/ 75 w 454"/>
                  <a:gd name="T33" fmla="*/ 126 h 358"/>
                  <a:gd name="T34" fmla="*/ 71 w 454"/>
                  <a:gd name="T35" fmla="*/ 125 h 358"/>
                  <a:gd name="T36" fmla="*/ 65 w 454"/>
                  <a:gd name="T37" fmla="*/ 126 h 358"/>
                  <a:gd name="T38" fmla="*/ 60 w 454"/>
                  <a:gd name="T39" fmla="*/ 127 h 358"/>
                  <a:gd name="T40" fmla="*/ 55 w 454"/>
                  <a:gd name="T41" fmla="*/ 130 h 358"/>
                  <a:gd name="T42" fmla="*/ 51 w 454"/>
                  <a:gd name="T43" fmla="*/ 133 h 358"/>
                  <a:gd name="T44" fmla="*/ 8 w 454"/>
                  <a:gd name="T45" fmla="*/ 176 h 358"/>
                  <a:gd name="T46" fmla="*/ 8 w 454"/>
                  <a:gd name="T47" fmla="*/ 176 h 358"/>
                  <a:gd name="T48" fmla="*/ 5 w 454"/>
                  <a:gd name="T49" fmla="*/ 180 h 358"/>
                  <a:gd name="T50" fmla="*/ 3 w 454"/>
                  <a:gd name="T51" fmla="*/ 185 h 358"/>
                  <a:gd name="T52" fmla="*/ 2 w 454"/>
                  <a:gd name="T53" fmla="*/ 190 h 358"/>
                  <a:gd name="T54" fmla="*/ 0 w 454"/>
                  <a:gd name="T55" fmla="*/ 196 h 358"/>
                  <a:gd name="T56" fmla="*/ 2 w 454"/>
                  <a:gd name="T57" fmla="*/ 200 h 358"/>
                  <a:gd name="T58" fmla="*/ 3 w 454"/>
                  <a:gd name="T59" fmla="*/ 206 h 358"/>
                  <a:gd name="T60" fmla="*/ 5 w 454"/>
                  <a:gd name="T61" fmla="*/ 210 h 358"/>
                  <a:gd name="T62" fmla="*/ 8 w 454"/>
                  <a:gd name="T63" fmla="*/ 214 h 358"/>
                  <a:gd name="T64" fmla="*/ 145 w 454"/>
                  <a:gd name="T65" fmla="*/ 350 h 358"/>
                  <a:gd name="T66" fmla="*/ 145 w 454"/>
                  <a:gd name="T67" fmla="*/ 350 h 358"/>
                  <a:gd name="T68" fmla="*/ 149 w 454"/>
                  <a:gd name="T69" fmla="*/ 353 h 358"/>
                  <a:gd name="T70" fmla="*/ 153 w 454"/>
                  <a:gd name="T71" fmla="*/ 355 h 358"/>
                  <a:gd name="T72" fmla="*/ 159 w 454"/>
                  <a:gd name="T73" fmla="*/ 357 h 358"/>
                  <a:gd name="T74" fmla="*/ 164 w 454"/>
                  <a:gd name="T75" fmla="*/ 358 h 358"/>
                  <a:gd name="T76" fmla="*/ 169 w 454"/>
                  <a:gd name="T77" fmla="*/ 357 h 358"/>
                  <a:gd name="T78" fmla="*/ 174 w 454"/>
                  <a:gd name="T79" fmla="*/ 355 h 358"/>
                  <a:gd name="T80" fmla="*/ 179 w 454"/>
                  <a:gd name="T81" fmla="*/ 353 h 358"/>
                  <a:gd name="T82" fmla="*/ 183 w 454"/>
                  <a:gd name="T83" fmla="*/ 350 h 358"/>
                  <a:gd name="T84" fmla="*/ 208 w 454"/>
                  <a:gd name="T85" fmla="*/ 324 h 358"/>
                  <a:gd name="T86" fmla="*/ 226 w 454"/>
                  <a:gd name="T87" fmla="*/ 307 h 358"/>
                  <a:gd name="T88" fmla="*/ 446 w 454"/>
                  <a:gd name="T89" fmla="*/ 88 h 358"/>
                  <a:gd name="T90" fmla="*/ 446 w 454"/>
                  <a:gd name="T91" fmla="*/ 88 h 358"/>
                  <a:gd name="T92" fmla="*/ 449 w 454"/>
                  <a:gd name="T93" fmla="*/ 83 h 358"/>
                  <a:gd name="T94" fmla="*/ 452 w 454"/>
                  <a:gd name="T95" fmla="*/ 79 h 358"/>
                  <a:gd name="T96" fmla="*/ 453 w 454"/>
                  <a:gd name="T97" fmla="*/ 73 h 358"/>
                  <a:gd name="T98" fmla="*/ 454 w 454"/>
                  <a:gd name="T99" fmla="*/ 69 h 358"/>
                  <a:gd name="T100" fmla="*/ 453 w 454"/>
                  <a:gd name="T101" fmla="*/ 63 h 358"/>
                  <a:gd name="T102" fmla="*/ 452 w 454"/>
                  <a:gd name="T103" fmla="*/ 59 h 358"/>
                  <a:gd name="T104" fmla="*/ 449 w 454"/>
                  <a:gd name="T105" fmla="*/ 54 h 358"/>
                  <a:gd name="T106" fmla="*/ 446 w 454"/>
                  <a:gd name="T107" fmla="*/ 50 h 358"/>
                  <a:gd name="T108" fmla="*/ 446 w 454"/>
                  <a:gd name="T109" fmla="*/ 50 h 3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454" h="358">
                    <a:moveTo>
                      <a:pt x="446" y="50"/>
                    </a:moveTo>
                    <a:lnTo>
                      <a:pt x="403" y="7"/>
                    </a:lnTo>
                    <a:lnTo>
                      <a:pt x="403" y="7"/>
                    </a:lnTo>
                    <a:lnTo>
                      <a:pt x="399" y="4"/>
                    </a:lnTo>
                    <a:lnTo>
                      <a:pt x="393" y="1"/>
                    </a:lnTo>
                    <a:lnTo>
                      <a:pt x="389" y="0"/>
                    </a:lnTo>
                    <a:lnTo>
                      <a:pt x="383" y="0"/>
                    </a:lnTo>
                    <a:lnTo>
                      <a:pt x="379" y="0"/>
                    </a:lnTo>
                    <a:lnTo>
                      <a:pt x="374" y="1"/>
                    </a:lnTo>
                    <a:lnTo>
                      <a:pt x="369" y="4"/>
                    </a:lnTo>
                    <a:lnTo>
                      <a:pt x="365" y="7"/>
                    </a:lnTo>
                    <a:lnTo>
                      <a:pt x="164" y="207"/>
                    </a:lnTo>
                    <a:lnTo>
                      <a:pt x="90" y="133"/>
                    </a:lnTo>
                    <a:lnTo>
                      <a:pt x="90" y="133"/>
                    </a:lnTo>
                    <a:lnTo>
                      <a:pt x="85" y="130"/>
                    </a:lnTo>
                    <a:lnTo>
                      <a:pt x="81" y="127"/>
                    </a:lnTo>
                    <a:lnTo>
                      <a:pt x="75" y="126"/>
                    </a:lnTo>
                    <a:lnTo>
                      <a:pt x="71" y="125"/>
                    </a:lnTo>
                    <a:lnTo>
                      <a:pt x="65" y="126"/>
                    </a:lnTo>
                    <a:lnTo>
                      <a:pt x="60" y="127"/>
                    </a:lnTo>
                    <a:lnTo>
                      <a:pt x="55" y="130"/>
                    </a:lnTo>
                    <a:lnTo>
                      <a:pt x="51" y="133"/>
                    </a:lnTo>
                    <a:lnTo>
                      <a:pt x="8" y="176"/>
                    </a:lnTo>
                    <a:lnTo>
                      <a:pt x="8" y="176"/>
                    </a:lnTo>
                    <a:lnTo>
                      <a:pt x="5" y="180"/>
                    </a:lnTo>
                    <a:lnTo>
                      <a:pt x="3" y="185"/>
                    </a:lnTo>
                    <a:lnTo>
                      <a:pt x="2" y="190"/>
                    </a:lnTo>
                    <a:lnTo>
                      <a:pt x="0" y="196"/>
                    </a:lnTo>
                    <a:lnTo>
                      <a:pt x="2" y="200"/>
                    </a:lnTo>
                    <a:lnTo>
                      <a:pt x="3" y="206"/>
                    </a:lnTo>
                    <a:lnTo>
                      <a:pt x="5" y="210"/>
                    </a:lnTo>
                    <a:lnTo>
                      <a:pt x="8" y="214"/>
                    </a:lnTo>
                    <a:lnTo>
                      <a:pt x="145" y="350"/>
                    </a:lnTo>
                    <a:lnTo>
                      <a:pt x="145" y="350"/>
                    </a:lnTo>
                    <a:lnTo>
                      <a:pt x="149" y="353"/>
                    </a:lnTo>
                    <a:lnTo>
                      <a:pt x="153" y="355"/>
                    </a:lnTo>
                    <a:lnTo>
                      <a:pt x="159" y="357"/>
                    </a:lnTo>
                    <a:lnTo>
                      <a:pt x="164" y="358"/>
                    </a:lnTo>
                    <a:lnTo>
                      <a:pt x="169" y="357"/>
                    </a:lnTo>
                    <a:lnTo>
                      <a:pt x="174" y="355"/>
                    </a:lnTo>
                    <a:lnTo>
                      <a:pt x="179" y="353"/>
                    </a:lnTo>
                    <a:lnTo>
                      <a:pt x="183" y="350"/>
                    </a:lnTo>
                    <a:lnTo>
                      <a:pt x="208" y="324"/>
                    </a:lnTo>
                    <a:lnTo>
                      <a:pt x="226" y="307"/>
                    </a:lnTo>
                    <a:lnTo>
                      <a:pt x="446" y="88"/>
                    </a:lnTo>
                    <a:lnTo>
                      <a:pt x="446" y="88"/>
                    </a:lnTo>
                    <a:lnTo>
                      <a:pt x="449" y="83"/>
                    </a:lnTo>
                    <a:lnTo>
                      <a:pt x="452" y="79"/>
                    </a:lnTo>
                    <a:lnTo>
                      <a:pt x="453" y="73"/>
                    </a:lnTo>
                    <a:lnTo>
                      <a:pt x="454" y="69"/>
                    </a:lnTo>
                    <a:lnTo>
                      <a:pt x="453" y="63"/>
                    </a:lnTo>
                    <a:lnTo>
                      <a:pt x="452" y="59"/>
                    </a:lnTo>
                    <a:lnTo>
                      <a:pt x="449" y="54"/>
                    </a:lnTo>
                    <a:lnTo>
                      <a:pt x="446" y="50"/>
                    </a:lnTo>
                    <a:lnTo>
                      <a:pt x="446" y="50"/>
                    </a:lnTo>
                    <a:close/>
                  </a:path>
                </a:pathLst>
              </a:custGeom>
              <a:solidFill>
                <a:schemeClr val="accent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chemeClr val="bg1"/>
                  </a:solidFill>
                </a:endParaRPr>
              </a:p>
            </p:txBody>
          </p:sp>
        </p:grpSp>
      </p:grpSp>
      <p:sp>
        <p:nvSpPr>
          <p:cNvPr id="32" name="Rectangle 31"/>
          <p:cNvSpPr/>
          <p:nvPr/>
        </p:nvSpPr>
        <p:spPr>
          <a:xfrm>
            <a:off x="5018111" y="638618"/>
            <a:ext cx="5478439" cy="119393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>
              <a:spcBef>
                <a:spcPct val="0"/>
              </a:spcBef>
            </a:pPr>
            <a:r>
              <a:rPr lang="en-US" sz="3200" b="1" noProof="1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Advantech WISE-Paas драйвер Industry 4.0</a:t>
            </a:r>
          </a:p>
        </p:txBody>
      </p:sp>
      <p:sp>
        <p:nvSpPr>
          <p:cNvPr id="36" name="Freeform 35"/>
          <p:cNvSpPr/>
          <p:nvPr/>
        </p:nvSpPr>
        <p:spPr>
          <a:xfrm>
            <a:off x="567300" y="0"/>
            <a:ext cx="3484523" cy="5775082"/>
          </a:xfrm>
          <a:custGeom>
            <a:avLst/>
            <a:gdLst>
              <a:gd name="connsiteX0" fmla="*/ 0 w 3484523"/>
              <a:gd name="connsiteY0" fmla="*/ 0 h 5775082"/>
              <a:gd name="connsiteX1" fmla="*/ 3484523 w 3484523"/>
              <a:gd name="connsiteY1" fmla="*/ 0 h 5775082"/>
              <a:gd name="connsiteX2" fmla="*/ 3484523 w 3484523"/>
              <a:gd name="connsiteY2" fmla="*/ 1311508 h 5775082"/>
              <a:gd name="connsiteX3" fmla="*/ 3484523 w 3484523"/>
              <a:gd name="connsiteY3" fmla="*/ 3625751 h 5775082"/>
              <a:gd name="connsiteX4" fmla="*/ 3484523 w 3484523"/>
              <a:gd name="connsiteY4" fmla="*/ 4937259 h 5775082"/>
              <a:gd name="connsiteX5" fmla="*/ 0 w 3484523"/>
              <a:gd name="connsiteY5" fmla="*/ 5533807 h 5775082"/>
              <a:gd name="connsiteX6" fmla="*/ 0 w 3484523"/>
              <a:gd name="connsiteY6" fmla="*/ 4222299 h 5775082"/>
              <a:gd name="connsiteX7" fmla="*/ 0 w 3484523"/>
              <a:gd name="connsiteY7" fmla="*/ 1311508 h 57750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484523" h="5775082">
                <a:moveTo>
                  <a:pt x="0" y="0"/>
                </a:moveTo>
                <a:lnTo>
                  <a:pt x="3484523" y="0"/>
                </a:lnTo>
                <a:lnTo>
                  <a:pt x="3484523" y="1311508"/>
                </a:lnTo>
                <a:lnTo>
                  <a:pt x="3484523" y="3625751"/>
                </a:lnTo>
                <a:lnTo>
                  <a:pt x="3484523" y="4937259"/>
                </a:lnTo>
                <a:cubicBezTo>
                  <a:pt x="1742262" y="4937259"/>
                  <a:pt x="1742262" y="6318737"/>
                  <a:pt x="0" y="5533807"/>
                </a:cubicBezTo>
                <a:lnTo>
                  <a:pt x="0" y="4222299"/>
                </a:lnTo>
                <a:lnTo>
                  <a:pt x="0" y="1311508"/>
                </a:lnTo>
                <a:close/>
              </a:path>
            </a:pathLst>
          </a:custGeom>
          <a:gradFill flip="none" rotWithShape="1">
            <a:gsLst>
              <a:gs pos="0">
                <a:schemeClr val="accent6"/>
              </a:gs>
              <a:gs pos="100000">
                <a:srgbClr val="00B050">
                  <a:alpha val="29000"/>
                </a:srgbClr>
              </a:gs>
            </a:gsLst>
            <a:lin ang="5400000" scaled="1"/>
            <a:tileRect/>
          </a:gradFill>
          <a:ln>
            <a:noFill/>
          </a:ln>
          <a:effectLst>
            <a:outerShdw blurRad="50800" dist="38100" dir="5400000" algn="t" rotWithShape="0">
              <a:prstClr val="black">
                <a:alpha val="89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/>
          <p:cNvSpPr/>
          <p:nvPr/>
        </p:nvSpPr>
        <p:spPr>
          <a:xfrm>
            <a:off x="957405" y="2758155"/>
            <a:ext cx="2704313" cy="86120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algn="ctr">
              <a:spcBef>
                <a:spcPct val="0"/>
              </a:spcBef>
            </a:pPr>
            <a:endParaRPr lang="en-US" sz="3200" b="1" noProof="1">
              <a:solidFill>
                <a:schemeClr val="bg1">
                  <a:lumMod val="95000"/>
                </a:schemeClr>
              </a:solidFill>
              <a:latin typeface="Roboto Condensed" panose="02000000000000000000" pitchFamily="2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="" xmlns:a16="http://schemas.microsoft.com/office/drawing/2014/main" id="{0C722BD1-2265-4976-BBBF-0132F81136EA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2" r="212"/>
          <a:stretch>
            <a:fillRect/>
          </a:stretch>
        </p:blipFill>
        <p:spPr>
          <a:solidFill>
            <a:schemeClr val="bg1"/>
          </a:solidFill>
          <a:ln>
            <a:noFill/>
          </a:ln>
          <a:effectLst>
            <a:innerShdw blurRad="114300">
              <a:prstClr val="black">
                <a:alpha val="62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pic>
      <p:pic>
        <p:nvPicPr>
          <p:cNvPr id="13" name="Рисунок 12">
            <a:extLst>
              <a:ext uri="{FF2B5EF4-FFF2-40B4-BE49-F238E27FC236}">
                <a16:creationId xmlns="" xmlns:a16="http://schemas.microsoft.com/office/drawing/2014/main" id="{9B41369C-03B4-492E-AEE7-3056C22C1114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245" y="3748695"/>
            <a:ext cx="2548632" cy="700711"/>
          </a:xfrm>
          <a:prstGeom prst="rect">
            <a:avLst/>
          </a:prstGeom>
        </p:spPr>
      </p:pic>
      <p:sp>
        <p:nvSpPr>
          <p:cNvPr id="31" name="Freeform 1072"/>
          <p:cNvSpPr>
            <a:spLocks/>
          </p:cNvSpPr>
          <p:nvPr/>
        </p:nvSpPr>
        <p:spPr bwMode="auto">
          <a:xfrm>
            <a:off x="5133116" y="2931387"/>
            <a:ext cx="172508" cy="136090"/>
          </a:xfrm>
          <a:custGeom>
            <a:avLst/>
            <a:gdLst>
              <a:gd name="T0" fmla="*/ 446 w 454"/>
              <a:gd name="T1" fmla="*/ 50 h 358"/>
              <a:gd name="T2" fmla="*/ 403 w 454"/>
              <a:gd name="T3" fmla="*/ 7 h 358"/>
              <a:gd name="T4" fmla="*/ 403 w 454"/>
              <a:gd name="T5" fmla="*/ 7 h 358"/>
              <a:gd name="T6" fmla="*/ 399 w 454"/>
              <a:gd name="T7" fmla="*/ 4 h 358"/>
              <a:gd name="T8" fmla="*/ 393 w 454"/>
              <a:gd name="T9" fmla="*/ 1 h 358"/>
              <a:gd name="T10" fmla="*/ 389 w 454"/>
              <a:gd name="T11" fmla="*/ 0 h 358"/>
              <a:gd name="T12" fmla="*/ 383 w 454"/>
              <a:gd name="T13" fmla="*/ 0 h 358"/>
              <a:gd name="T14" fmla="*/ 379 w 454"/>
              <a:gd name="T15" fmla="*/ 0 h 358"/>
              <a:gd name="T16" fmla="*/ 374 w 454"/>
              <a:gd name="T17" fmla="*/ 1 h 358"/>
              <a:gd name="T18" fmla="*/ 369 w 454"/>
              <a:gd name="T19" fmla="*/ 4 h 358"/>
              <a:gd name="T20" fmla="*/ 365 w 454"/>
              <a:gd name="T21" fmla="*/ 7 h 358"/>
              <a:gd name="T22" fmla="*/ 164 w 454"/>
              <a:gd name="T23" fmla="*/ 207 h 358"/>
              <a:gd name="T24" fmla="*/ 90 w 454"/>
              <a:gd name="T25" fmla="*/ 133 h 358"/>
              <a:gd name="T26" fmla="*/ 90 w 454"/>
              <a:gd name="T27" fmla="*/ 133 h 358"/>
              <a:gd name="T28" fmla="*/ 85 w 454"/>
              <a:gd name="T29" fmla="*/ 130 h 358"/>
              <a:gd name="T30" fmla="*/ 81 w 454"/>
              <a:gd name="T31" fmla="*/ 127 h 358"/>
              <a:gd name="T32" fmla="*/ 75 w 454"/>
              <a:gd name="T33" fmla="*/ 126 h 358"/>
              <a:gd name="T34" fmla="*/ 71 w 454"/>
              <a:gd name="T35" fmla="*/ 125 h 358"/>
              <a:gd name="T36" fmla="*/ 65 w 454"/>
              <a:gd name="T37" fmla="*/ 126 h 358"/>
              <a:gd name="T38" fmla="*/ 60 w 454"/>
              <a:gd name="T39" fmla="*/ 127 h 358"/>
              <a:gd name="T40" fmla="*/ 55 w 454"/>
              <a:gd name="T41" fmla="*/ 130 h 358"/>
              <a:gd name="T42" fmla="*/ 51 w 454"/>
              <a:gd name="T43" fmla="*/ 133 h 358"/>
              <a:gd name="T44" fmla="*/ 8 w 454"/>
              <a:gd name="T45" fmla="*/ 176 h 358"/>
              <a:gd name="T46" fmla="*/ 8 w 454"/>
              <a:gd name="T47" fmla="*/ 176 h 358"/>
              <a:gd name="T48" fmla="*/ 5 w 454"/>
              <a:gd name="T49" fmla="*/ 180 h 358"/>
              <a:gd name="T50" fmla="*/ 3 w 454"/>
              <a:gd name="T51" fmla="*/ 185 h 358"/>
              <a:gd name="T52" fmla="*/ 2 w 454"/>
              <a:gd name="T53" fmla="*/ 190 h 358"/>
              <a:gd name="T54" fmla="*/ 0 w 454"/>
              <a:gd name="T55" fmla="*/ 196 h 358"/>
              <a:gd name="T56" fmla="*/ 2 w 454"/>
              <a:gd name="T57" fmla="*/ 200 h 358"/>
              <a:gd name="T58" fmla="*/ 3 w 454"/>
              <a:gd name="T59" fmla="*/ 206 h 358"/>
              <a:gd name="T60" fmla="*/ 5 w 454"/>
              <a:gd name="T61" fmla="*/ 210 h 358"/>
              <a:gd name="T62" fmla="*/ 8 w 454"/>
              <a:gd name="T63" fmla="*/ 214 h 358"/>
              <a:gd name="T64" fmla="*/ 145 w 454"/>
              <a:gd name="T65" fmla="*/ 350 h 358"/>
              <a:gd name="T66" fmla="*/ 145 w 454"/>
              <a:gd name="T67" fmla="*/ 350 h 358"/>
              <a:gd name="T68" fmla="*/ 149 w 454"/>
              <a:gd name="T69" fmla="*/ 353 h 358"/>
              <a:gd name="T70" fmla="*/ 153 w 454"/>
              <a:gd name="T71" fmla="*/ 355 h 358"/>
              <a:gd name="T72" fmla="*/ 159 w 454"/>
              <a:gd name="T73" fmla="*/ 357 h 358"/>
              <a:gd name="T74" fmla="*/ 164 w 454"/>
              <a:gd name="T75" fmla="*/ 358 h 358"/>
              <a:gd name="T76" fmla="*/ 169 w 454"/>
              <a:gd name="T77" fmla="*/ 357 h 358"/>
              <a:gd name="T78" fmla="*/ 174 w 454"/>
              <a:gd name="T79" fmla="*/ 355 h 358"/>
              <a:gd name="T80" fmla="*/ 179 w 454"/>
              <a:gd name="T81" fmla="*/ 353 h 358"/>
              <a:gd name="T82" fmla="*/ 183 w 454"/>
              <a:gd name="T83" fmla="*/ 350 h 358"/>
              <a:gd name="T84" fmla="*/ 208 w 454"/>
              <a:gd name="T85" fmla="*/ 324 h 358"/>
              <a:gd name="T86" fmla="*/ 226 w 454"/>
              <a:gd name="T87" fmla="*/ 307 h 358"/>
              <a:gd name="T88" fmla="*/ 446 w 454"/>
              <a:gd name="T89" fmla="*/ 88 h 358"/>
              <a:gd name="T90" fmla="*/ 446 w 454"/>
              <a:gd name="T91" fmla="*/ 88 h 358"/>
              <a:gd name="T92" fmla="*/ 449 w 454"/>
              <a:gd name="T93" fmla="*/ 83 h 358"/>
              <a:gd name="T94" fmla="*/ 452 w 454"/>
              <a:gd name="T95" fmla="*/ 79 h 358"/>
              <a:gd name="T96" fmla="*/ 453 w 454"/>
              <a:gd name="T97" fmla="*/ 73 h 358"/>
              <a:gd name="T98" fmla="*/ 454 w 454"/>
              <a:gd name="T99" fmla="*/ 69 h 358"/>
              <a:gd name="T100" fmla="*/ 453 w 454"/>
              <a:gd name="T101" fmla="*/ 63 h 358"/>
              <a:gd name="T102" fmla="*/ 452 w 454"/>
              <a:gd name="T103" fmla="*/ 59 h 358"/>
              <a:gd name="T104" fmla="*/ 449 w 454"/>
              <a:gd name="T105" fmla="*/ 54 h 358"/>
              <a:gd name="T106" fmla="*/ 446 w 454"/>
              <a:gd name="T107" fmla="*/ 50 h 358"/>
              <a:gd name="T108" fmla="*/ 446 w 454"/>
              <a:gd name="T109" fmla="*/ 50 h 3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454" h="358">
                <a:moveTo>
                  <a:pt x="446" y="50"/>
                </a:moveTo>
                <a:lnTo>
                  <a:pt x="403" y="7"/>
                </a:lnTo>
                <a:lnTo>
                  <a:pt x="403" y="7"/>
                </a:lnTo>
                <a:lnTo>
                  <a:pt x="399" y="4"/>
                </a:lnTo>
                <a:lnTo>
                  <a:pt x="393" y="1"/>
                </a:lnTo>
                <a:lnTo>
                  <a:pt x="389" y="0"/>
                </a:lnTo>
                <a:lnTo>
                  <a:pt x="383" y="0"/>
                </a:lnTo>
                <a:lnTo>
                  <a:pt x="379" y="0"/>
                </a:lnTo>
                <a:lnTo>
                  <a:pt x="374" y="1"/>
                </a:lnTo>
                <a:lnTo>
                  <a:pt x="369" y="4"/>
                </a:lnTo>
                <a:lnTo>
                  <a:pt x="365" y="7"/>
                </a:lnTo>
                <a:lnTo>
                  <a:pt x="164" y="207"/>
                </a:lnTo>
                <a:lnTo>
                  <a:pt x="90" y="133"/>
                </a:lnTo>
                <a:lnTo>
                  <a:pt x="90" y="133"/>
                </a:lnTo>
                <a:lnTo>
                  <a:pt x="85" y="130"/>
                </a:lnTo>
                <a:lnTo>
                  <a:pt x="81" y="127"/>
                </a:lnTo>
                <a:lnTo>
                  <a:pt x="75" y="126"/>
                </a:lnTo>
                <a:lnTo>
                  <a:pt x="71" y="125"/>
                </a:lnTo>
                <a:lnTo>
                  <a:pt x="65" y="126"/>
                </a:lnTo>
                <a:lnTo>
                  <a:pt x="60" y="127"/>
                </a:lnTo>
                <a:lnTo>
                  <a:pt x="55" y="130"/>
                </a:lnTo>
                <a:lnTo>
                  <a:pt x="51" y="133"/>
                </a:lnTo>
                <a:lnTo>
                  <a:pt x="8" y="176"/>
                </a:lnTo>
                <a:lnTo>
                  <a:pt x="8" y="176"/>
                </a:lnTo>
                <a:lnTo>
                  <a:pt x="5" y="180"/>
                </a:lnTo>
                <a:lnTo>
                  <a:pt x="3" y="185"/>
                </a:lnTo>
                <a:lnTo>
                  <a:pt x="2" y="190"/>
                </a:lnTo>
                <a:lnTo>
                  <a:pt x="0" y="196"/>
                </a:lnTo>
                <a:lnTo>
                  <a:pt x="2" y="200"/>
                </a:lnTo>
                <a:lnTo>
                  <a:pt x="3" y="206"/>
                </a:lnTo>
                <a:lnTo>
                  <a:pt x="5" y="210"/>
                </a:lnTo>
                <a:lnTo>
                  <a:pt x="8" y="214"/>
                </a:lnTo>
                <a:lnTo>
                  <a:pt x="145" y="350"/>
                </a:lnTo>
                <a:lnTo>
                  <a:pt x="145" y="350"/>
                </a:lnTo>
                <a:lnTo>
                  <a:pt x="149" y="353"/>
                </a:lnTo>
                <a:lnTo>
                  <a:pt x="153" y="355"/>
                </a:lnTo>
                <a:lnTo>
                  <a:pt x="159" y="357"/>
                </a:lnTo>
                <a:lnTo>
                  <a:pt x="164" y="358"/>
                </a:lnTo>
                <a:lnTo>
                  <a:pt x="169" y="357"/>
                </a:lnTo>
                <a:lnTo>
                  <a:pt x="174" y="355"/>
                </a:lnTo>
                <a:lnTo>
                  <a:pt x="179" y="353"/>
                </a:lnTo>
                <a:lnTo>
                  <a:pt x="183" y="350"/>
                </a:lnTo>
                <a:lnTo>
                  <a:pt x="208" y="324"/>
                </a:lnTo>
                <a:lnTo>
                  <a:pt x="226" y="307"/>
                </a:lnTo>
                <a:lnTo>
                  <a:pt x="446" y="88"/>
                </a:lnTo>
                <a:lnTo>
                  <a:pt x="446" y="88"/>
                </a:lnTo>
                <a:lnTo>
                  <a:pt x="449" y="83"/>
                </a:lnTo>
                <a:lnTo>
                  <a:pt x="452" y="79"/>
                </a:lnTo>
                <a:lnTo>
                  <a:pt x="453" y="73"/>
                </a:lnTo>
                <a:lnTo>
                  <a:pt x="454" y="69"/>
                </a:lnTo>
                <a:lnTo>
                  <a:pt x="453" y="63"/>
                </a:lnTo>
                <a:lnTo>
                  <a:pt x="452" y="59"/>
                </a:lnTo>
                <a:lnTo>
                  <a:pt x="449" y="54"/>
                </a:lnTo>
                <a:lnTo>
                  <a:pt x="446" y="50"/>
                </a:lnTo>
                <a:lnTo>
                  <a:pt x="446" y="5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2847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Рисунок 16">
            <a:extLst>
              <a:ext uri="{FF2B5EF4-FFF2-40B4-BE49-F238E27FC236}">
                <a16:creationId xmlns="" xmlns:a16="http://schemas.microsoft.com/office/drawing/2014/main" id="{B26152D7-F46F-4D96-BD28-4AAAFA99DE28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5322" y="1564033"/>
            <a:ext cx="6187853" cy="4789141"/>
          </a:xfrm>
        </p:spPr>
      </p:pic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1CA209-181F-46EF-9285-755E64EE8A8B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3" name="Rectangle 2"/>
          <p:cNvSpPr/>
          <p:nvPr/>
        </p:nvSpPr>
        <p:spPr>
          <a:xfrm>
            <a:off x="2043289" y="356920"/>
            <a:ext cx="8286043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  <a:buClr>
                <a:srgbClr val="E24848"/>
              </a:buClr>
              <a:defRPr/>
            </a:pPr>
            <a:r>
              <a:rPr lang="uk-UA" sz="3200" b="1" noProof="1"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ПРИМЕРЫ РЕШЕНИЙ</a:t>
            </a:r>
            <a:r>
              <a:rPr lang="en-US" sz="3200" b="1" noProof="1"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3200" b="1" noProof="1">
                <a:solidFill>
                  <a:schemeClr val="accent6">
                    <a:lumMod val="75000"/>
                  </a:schemeClr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IFACTORY</a:t>
            </a:r>
          </a:p>
        </p:txBody>
      </p:sp>
      <p:sp>
        <p:nvSpPr>
          <p:cNvPr id="4" name="Rectangle 3"/>
          <p:cNvSpPr/>
          <p:nvPr/>
        </p:nvSpPr>
        <p:spPr>
          <a:xfrm>
            <a:off x="2946401" y="813206"/>
            <a:ext cx="654755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  <a:buClr>
                <a:srgbClr val="E24848"/>
              </a:buClr>
              <a:defRPr/>
            </a:pPr>
            <a:r>
              <a:rPr lang="ru-RU" dirty="0"/>
              <a:t>Каждый </a:t>
            </a:r>
            <a:r>
              <a:rPr lang="ru-RU" dirty="0" smtClean="0"/>
              <a:t>компонент -  </a:t>
            </a:r>
            <a:r>
              <a:rPr lang="ru-RU" dirty="0"/>
              <a:t>это SRP, WISE-PAAS решение</a:t>
            </a:r>
            <a:endParaRPr lang="pt-BR" sz="1400" noProof="1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52" name="Rectangle 51"/>
          <p:cNvSpPr/>
          <p:nvPr/>
        </p:nvSpPr>
        <p:spPr>
          <a:xfrm>
            <a:off x="6958149" y="1419578"/>
            <a:ext cx="4497844" cy="42780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Clr>
                <a:srgbClr val="E24848"/>
              </a:buClr>
              <a:buFont typeface="+mj-lt"/>
              <a:buAutoNum type="arabicPeriod"/>
              <a:defRPr/>
            </a:pPr>
            <a:r>
              <a:rPr lang="ru-RU" sz="16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ситуационная комната (видеостена для отображения основных показателей производства)</a:t>
            </a:r>
          </a:p>
          <a:p>
            <a:pPr marL="342900" indent="-342900">
              <a:buClr>
                <a:srgbClr val="E24848"/>
              </a:buClr>
              <a:buFont typeface="+mj-lt"/>
              <a:buAutoNum type="arabicPeriod"/>
              <a:defRPr/>
            </a:pPr>
            <a:r>
              <a:rPr lang="ru-RU" sz="16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мониторинг сборочной линии (получение основных данных по производительности и загрузке рабочих </a:t>
            </a:r>
            <a:r>
              <a:rPr lang="x-none" sz="16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м</a:t>
            </a:r>
            <a:r>
              <a:rPr lang="uk-UA" sz="16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е</a:t>
            </a:r>
            <a:r>
              <a:rPr lang="x-none" sz="16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с</a:t>
            </a:r>
            <a:r>
              <a:rPr lang="uk-UA" sz="16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т</a:t>
            </a:r>
            <a:r>
              <a:rPr lang="x-none" sz="16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ru-RU" sz="16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в реальном времени);</a:t>
            </a:r>
          </a:p>
          <a:p>
            <a:pPr marL="342900" indent="-342900">
              <a:buClr>
                <a:srgbClr val="E24848"/>
              </a:buClr>
              <a:buFont typeface="+mj-lt"/>
              <a:buAutoNum type="arabicPeriod"/>
              <a:defRPr/>
            </a:pPr>
            <a:r>
              <a:rPr lang="ru-RU" sz="16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мониторинг загрузки станков с ЧПУ (получение данных  о текущей производительности, предстоящей загрузк</a:t>
            </a:r>
            <a:r>
              <a:rPr lang="x-none" sz="16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е</a:t>
            </a:r>
            <a:r>
              <a:rPr lang="ru-RU" sz="16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,  наличии материалов и инструментов);</a:t>
            </a:r>
          </a:p>
          <a:p>
            <a:pPr marL="342900" indent="-342900">
              <a:buClr>
                <a:srgbClr val="E24848"/>
              </a:buClr>
              <a:buFont typeface="+mj-lt"/>
              <a:buAutoNum type="arabicPeriod"/>
              <a:defRPr/>
            </a:pPr>
            <a:r>
              <a:rPr lang="ru-RU" sz="16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энергетических мониторинг предприятия (получение и обработка данных с узлов учета </a:t>
            </a:r>
            <a:r>
              <a:rPr lang="x-none" sz="16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Э</a:t>
            </a:r>
            <a:r>
              <a:rPr lang="uk-UA" sz="16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Э</a:t>
            </a:r>
            <a:r>
              <a:rPr lang="x-none" sz="16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ru-RU" sz="16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для анализа и оптимизации затрат);</a:t>
            </a:r>
          </a:p>
          <a:p>
            <a:pPr marL="342900" indent="-342900">
              <a:buClr>
                <a:srgbClr val="E24848"/>
              </a:buClr>
              <a:buFont typeface="+mj-lt"/>
              <a:buAutoNum type="arabicPeriod"/>
              <a:defRPr/>
            </a:pPr>
            <a:r>
              <a:rPr lang="ru-RU" sz="16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системы машинного зрения для видеоинспекции готовой продукции;</a:t>
            </a:r>
          </a:p>
          <a:p>
            <a:pPr marL="342900" indent="-342900">
              <a:buClr>
                <a:srgbClr val="E24848"/>
              </a:buClr>
              <a:buFont typeface="+mj-lt"/>
              <a:buAutoNum type="arabicPeriod"/>
              <a:defRPr/>
            </a:pPr>
            <a:r>
              <a:rPr lang="ru-RU" sz="16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анализ климатических условий внутри фабрики и выбросов вредных веществ;</a:t>
            </a:r>
          </a:p>
        </p:txBody>
      </p:sp>
      <p:pic>
        <p:nvPicPr>
          <p:cNvPr id="27" name="Рисунок 26">
            <a:extLst>
              <a:ext uri="{FF2B5EF4-FFF2-40B4-BE49-F238E27FC236}">
                <a16:creationId xmlns="" xmlns:a16="http://schemas.microsoft.com/office/drawing/2014/main" id="{97434FF5-18E0-49CC-AC25-A4C9557E072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20351" y="6439845"/>
            <a:ext cx="1035642" cy="284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8597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ound Same Side Corner Rectangle 24">
            <a:extLst>
              <a:ext uri="{FF2B5EF4-FFF2-40B4-BE49-F238E27FC236}">
                <a16:creationId xmlns="" xmlns:a16="http://schemas.microsoft.com/office/drawing/2014/main" id="{56304919-E7F8-4661-B0CA-1CD8E2900463}"/>
              </a:ext>
            </a:extLst>
          </p:cNvPr>
          <p:cNvSpPr/>
          <p:nvPr/>
        </p:nvSpPr>
        <p:spPr>
          <a:xfrm>
            <a:off x="614549" y="4935273"/>
            <a:ext cx="6211926" cy="1043494"/>
          </a:xfrm>
          <a:prstGeom prst="round2SameRect">
            <a:avLst>
              <a:gd name="adj1" fmla="val 22847"/>
              <a:gd name="adj2" fmla="val 0"/>
            </a:avLst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lumMod val="85000"/>
                  <a:alpha val="52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  <a:effectLst>
            <a:outerShdw blurRad="50800" dist="38100" dir="5400000" algn="t" rotWithShape="0">
              <a:prstClr val="black">
                <a:alpha val="11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7">
            <a:extLst>
              <a:ext uri="{FF2B5EF4-FFF2-40B4-BE49-F238E27FC236}">
                <a16:creationId xmlns="" xmlns:a16="http://schemas.microsoft.com/office/drawing/2014/main" id="{214D20FC-2AF6-42F4-A865-F5B02DDD0539}"/>
              </a:ext>
            </a:extLst>
          </p:cNvPr>
          <p:cNvSpPr/>
          <p:nvPr/>
        </p:nvSpPr>
        <p:spPr>
          <a:xfrm>
            <a:off x="901699" y="5324323"/>
            <a:ext cx="480060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buClr>
                <a:srgbClr val="E24848"/>
              </a:buClr>
              <a:defRPr/>
            </a:pPr>
            <a:r>
              <a:rPr lang="ru-RU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Возможность создавать собственн</a:t>
            </a:r>
            <a:r>
              <a:rPr lang="x-none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ые </a:t>
            </a:r>
            <a:r>
              <a:rPr lang="uk-UA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р</a:t>
            </a:r>
            <a:r>
              <a:rPr lang="x-none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е</a:t>
            </a:r>
            <a:r>
              <a:rPr lang="uk-UA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ш</a:t>
            </a:r>
            <a:r>
              <a:rPr lang="x-none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е</a:t>
            </a:r>
            <a:r>
              <a:rPr lang="uk-UA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н</a:t>
            </a:r>
            <a:r>
              <a:rPr lang="x-none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и</a:t>
            </a:r>
            <a:r>
              <a:rPr lang="uk-UA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я</a:t>
            </a:r>
            <a:r>
              <a:rPr lang="x-none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uk-UA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и</a:t>
            </a:r>
            <a:r>
              <a:rPr lang="x-none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uk-UA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р</a:t>
            </a:r>
            <a:r>
              <a:rPr lang="x-none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а</a:t>
            </a:r>
            <a:r>
              <a:rPr lang="uk-UA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з</a:t>
            </a:r>
            <a:r>
              <a:rPr lang="x-none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м</a:t>
            </a:r>
            <a:r>
              <a:rPr lang="uk-UA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е</a:t>
            </a:r>
            <a:r>
              <a:rPr lang="x-none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щ</a:t>
            </a:r>
            <a:r>
              <a:rPr lang="uk-UA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а</a:t>
            </a:r>
            <a:r>
              <a:rPr lang="x-none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т</a:t>
            </a:r>
            <a:r>
              <a:rPr lang="uk-UA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ь</a:t>
            </a:r>
            <a:r>
              <a:rPr lang="x-none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uk-UA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и</a:t>
            </a:r>
            <a:r>
              <a:rPr lang="x-none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х </a:t>
            </a:r>
            <a:r>
              <a:rPr lang="uk-UA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н</a:t>
            </a:r>
            <a:r>
              <a:rPr lang="x-none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а </a:t>
            </a:r>
            <a:r>
              <a:rPr lang="uk-UA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п</a:t>
            </a:r>
            <a:r>
              <a:rPr lang="x-none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о</a:t>
            </a:r>
            <a:r>
              <a:rPr lang="uk-UA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р</a:t>
            </a:r>
            <a:r>
              <a:rPr lang="x-none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т</a:t>
            </a:r>
            <a:r>
              <a:rPr lang="uk-UA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а</a:t>
            </a:r>
            <a:r>
              <a:rPr lang="x-none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л</a:t>
            </a:r>
            <a:r>
              <a:rPr lang="uk-UA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е</a:t>
            </a:r>
            <a:r>
              <a:rPr lang="x-none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 для использования всеми участниками рынка</a:t>
            </a:r>
            <a:endParaRPr lang="en-US" sz="1400" noProof="1">
              <a:latin typeface="+mj-lt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0" name="Rectangle 25">
            <a:extLst>
              <a:ext uri="{FF2B5EF4-FFF2-40B4-BE49-F238E27FC236}">
                <a16:creationId xmlns="" xmlns:a16="http://schemas.microsoft.com/office/drawing/2014/main" id="{82F64152-4762-40A1-80E6-9F3119D7ABEF}"/>
              </a:ext>
            </a:extLst>
          </p:cNvPr>
          <p:cNvSpPr/>
          <p:nvPr/>
        </p:nvSpPr>
        <p:spPr>
          <a:xfrm>
            <a:off x="996949" y="4827996"/>
            <a:ext cx="2065473" cy="406265"/>
          </a:xfrm>
          <a:prstGeom prst="rect">
            <a:avLst/>
          </a:prstGeom>
          <a:solidFill>
            <a:schemeClr val="accent6"/>
          </a:solidFill>
        </p:spPr>
        <p:txBody>
          <a:bodyPr wrap="square">
            <a:noAutofit/>
          </a:bodyPr>
          <a:lstStyle/>
          <a:p>
            <a:pPr>
              <a:spcBef>
                <a:spcPts val="600"/>
              </a:spcBef>
              <a:buClr>
                <a:srgbClr val="E24848"/>
              </a:buClr>
            </a:pPr>
            <a:r>
              <a:rPr lang="en-US" b="1" dirty="0">
                <a:solidFill>
                  <a:schemeClr val="bg1"/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CO-CREATION</a:t>
            </a:r>
          </a:p>
        </p:txBody>
      </p:sp>
      <p:sp>
        <p:nvSpPr>
          <p:cNvPr id="24" name="Round Same Side Corner Rectangle 23"/>
          <p:cNvSpPr/>
          <p:nvPr/>
        </p:nvSpPr>
        <p:spPr>
          <a:xfrm>
            <a:off x="614549" y="1865488"/>
            <a:ext cx="6211926" cy="1258033"/>
          </a:xfrm>
          <a:prstGeom prst="round2SameRect">
            <a:avLst>
              <a:gd name="adj1" fmla="val 22847"/>
              <a:gd name="adj2" fmla="val 0"/>
            </a:avLst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lumMod val="85000"/>
                  <a:alpha val="52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  <a:effectLst>
            <a:outerShdw blurRad="50800" dist="38100" dir="5400000" algn="t" rotWithShape="0">
              <a:prstClr val="black">
                <a:alpha val="11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996949" y="1793463"/>
            <a:ext cx="2065473" cy="406265"/>
          </a:xfrm>
          <a:prstGeom prst="rect">
            <a:avLst/>
          </a:prstGeom>
          <a:solidFill>
            <a:schemeClr val="accent6"/>
          </a:solidFill>
        </p:spPr>
        <p:txBody>
          <a:bodyPr wrap="square">
            <a:noAutofit/>
          </a:bodyPr>
          <a:lstStyle/>
          <a:p>
            <a:pPr>
              <a:spcBef>
                <a:spcPts val="600"/>
              </a:spcBef>
              <a:buClr>
                <a:srgbClr val="E24848"/>
              </a:buClr>
            </a:pPr>
            <a:r>
              <a:rPr lang="x-none" b="1" dirty="0">
                <a:solidFill>
                  <a:schemeClr val="bg1"/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П</a:t>
            </a:r>
            <a:r>
              <a:rPr lang="uk-UA" b="1" dirty="0">
                <a:solidFill>
                  <a:schemeClr val="bg1"/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О</a:t>
            </a:r>
            <a:r>
              <a:rPr lang="x-none" b="1" dirty="0">
                <a:solidFill>
                  <a:schemeClr val="bg1"/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С</a:t>
            </a:r>
            <a:r>
              <a:rPr lang="uk-UA" b="1" dirty="0">
                <a:solidFill>
                  <a:schemeClr val="bg1"/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Т</a:t>
            </a:r>
            <a:r>
              <a:rPr lang="x-none" b="1" dirty="0">
                <a:solidFill>
                  <a:schemeClr val="bg1"/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А</a:t>
            </a:r>
            <a:r>
              <a:rPr lang="uk-UA" b="1" dirty="0">
                <a:solidFill>
                  <a:schemeClr val="bg1"/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</a:t>
            </a:r>
            <a:r>
              <a:rPr lang="x-none" b="1" dirty="0">
                <a:solidFill>
                  <a:schemeClr val="bg1"/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Щ</a:t>
            </a:r>
            <a:r>
              <a:rPr lang="uk-UA" b="1" dirty="0">
                <a:solidFill>
                  <a:schemeClr val="bg1"/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И</a:t>
            </a:r>
            <a:r>
              <a:rPr lang="x-none" b="1" dirty="0">
                <a:solidFill>
                  <a:schemeClr val="bg1"/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К</a:t>
            </a:r>
            <a:r>
              <a:rPr lang="uk-UA" b="1" dirty="0">
                <a:solidFill>
                  <a:schemeClr val="bg1"/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И</a:t>
            </a:r>
            <a:endParaRPr lang="en-US" dirty="0">
              <a:solidFill>
                <a:schemeClr val="bg1"/>
              </a:solidFill>
              <a:latin typeface="Roboto Condensed" panose="02000000000000000000" pitchFamily="2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901699" y="2314776"/>
            <a:ext cx="4800601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buClr>
                <a:srgbClr val="E24848"/>
              </a:buClr>
              <a:defRPr/>
            </a:pPr>
            <a:r>
              <a:rPr lang="ru-RU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Системные интеграторы могут быстрее создавать и внедрять готовые решения, снижать затраты и цену для конечного потребителя.</a:t>
            </a:r>
            <a:endParaRPr lang="en-US" sz="1400" noProof="1">
              <a:latin typeface="+mj-lt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5" name="Round Same Side Corner Rectangle 24"/>
          <p:cNvSpPr/>
          <p:nvPr/>
        </p:nvSpPr>
        <p:spPr>
          <a:xfrm>
            <a:off x="614549" y="3491440"/>
            <a:ext cx="6211926" cy="1043494"/>
          </a:xfrm>
          <a:prstGeom prst="round2SameRect">
            <a:avLst>
              <a:gd name="adj1" fmla="val 22847"/>
              <a:gd name="adj2" fmla="val 0"/>
            </a:avLst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lumMod val="85000"/>
                  <a:alpha val="52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  <a:effectLst>
            <a:outerShdw blurRad="50800" dist="38100" dir="5400000" algn="t" rotWithShape="0">
              <a:prstClr val="black">
                <a:alpha val="11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901699" y="3857912"/>
            <a:ext cx="480060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buClr>
                <a:srgbClr val="E24848"/>
              </a:buClr>
              <a:defRPr/>
            </a:pPr>
            <a:r>
              <a:rPr lang="ru-RU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Конечный потребитель получает решение быстрее, дешевле и с меньшим количеством неизбежных ошибок.</a:t>
            </a:r>
            <a:endParaRPr lang="en-US" sz="1400" noProof="1">
              <a:latin typeface="+mj-lt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996949" y="3395452"/>
            <a:ext cx="2065473" cy="406265"/>
          </a:xfrm>
          <a:prstGeom prst="rect">
            <a:avLst/>
          </a:prstGeom>
          <a:solidFill>
            <a:schemeClr val="accent6"/>
          </a:solidFill>
        </p:spPr>
        <p:txBody>
          <a:bodyPr wrap="square">
            <a:noAutofit/>
          </a:bodyPr>
          <a:lstStyle/>
          <a:p>
            <a:pPr>
              <a:spcBef>
                <a:spcPts val="600"/>
              </a:spcBef>
              <a:buClr>
                <a:srgbClr val="E24848"/>
              </a:buClr>
            </a:pPr>
            <a:r>
              <a:rPr lang="x-none" b="1" dirty="0">
                <a:solidFill>
                  <a:schemeClr val="bg1"/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П</a:t>
            </a:r>
            <a:r>
              <a:rPr lang="uk-UA" b="1" dirty="0">
                <a:solidFill>
                  <a:schemeClr val="bg1"/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О</a:t>
            </a:r>
            <a:r>
              <a:rPr lang="x-none" b="1" dirty="0">
                <a:solidFill>
                  <a:schemeClr val="bg1"/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Т</a:t>
            </a:r>
            <a:r>
              <a:rPr lang="uk-UA" b="1" dirty="0">
                <a:solidFill>
                  <a:schemeClr val="bg1"/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Р</a:t>
            </a:r>
            <a:r>
              <a:rPr lang="x-none" b="1" dirty="0">
                <a:solidFill>
                  <a:schemeClr val="bg1"/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Е</a:t>
            </a:r>
            <a:r>
              <a:rPr lang="uk-UA" b="1" dirty="0">
                <a:solidFill>
                  <a:schemeClr val="bg1"/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Б</a:t>
            </a:r>
            <a:r>
              <a:rPr lang="x-none" b="1" dirty="0">
                <a:solidFill>
                  <a:schemeClr val="bg1"/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И</a:t>
            </a:r>
            <a:r>
              <a:rPr lang="uk-UA" b="1" dirty="0">
                <a:solidFill>
                  <a:schemeClr val="bg1"/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Т</a:t>
            </a:r>
            <a:r>
              <a:rPr lang="x-none" b="1" dirty="0">
                <a:solidFill>
                  <a:schemeClr val="bg1"/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Е</a:t>
            </a:r>
            <a:r>
              <a:rPr lang="uk-UA" b="1" dirty="0">
                <a:solidFill>
                  <a:schemeClr val="bg1"/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Л</a:t>
            </a:r>
            <a:r>
              <a:rPr lang="x-none" b="1" dirty="0">
                <a:solidFill>
                  <a:schemeClr val="bg1"/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И</a:t>
            </a:r>
            <a:endParaRPr lang="en-US" dirty="0">
              <a:solidFill>
                <a:schemeClr val="bg1"/>
              </a:solidFill>
              <a:latin typeface="Roboto Condensed" panose="02000000000000000000" pitchFamily="2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pic>
        <p:nvPicPr>
          <p:cNvPr id="7" name="Рисунок 6">
            <a:extLst>
              <a:ext uri="{FF2B5EF4-FFF2-40B4-BE49-F238E27FC236}">
                <a16:creationId xmlns="" xmlns:a16="http://schemas.microsoft.com/office/drawing/2014/main" id="{648FECDD-4612-4426-9A93-65B682777AB9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95" r="4495"/>
          <a:stretch>
            <a:fillRect/>
          </a:stretch>
        </p:blipFill>
        <p:spPr>
          <a:solidFill>
            <a:schemeClr val="bg1">
              <a:lumMod val="85000"/>
            </a:schemeClr>
          </a:solidFill>
          <a:ln w="571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1CA209-181F-46EF-9285-755E64EE8A8B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22" name="Rectangle 21"/>
          <p:cNvSpPr/>
          <p:nvPr/>
        </p:nvSpPr>
        <p:spPr>
          <a:xfrm>
            <a:off x="2967172" y="356920"/>
            <a:ext cx="625765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  <a:buClr>
                <a:srgbClr val="E24848"/>
              </a:buClr>
              <a:defRPr/>
            </a:pPr>
            <a:r>
              <a:rPr lang="en-US" sz="3200" b="1" noProof="1"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CO-CREATION</a:t>
            </a:r>
          </a:p>
        </p:txBody>
      </p:sp>
      <p:sp>
        <p:nvSpPr>
          <p:cNvPr id="23" name="Rectangle 22"/>
          <p:cNvSpPr/>
          <p:nvPr/>
        </p:nvSpPr>
        <p:spPr>
          <a:xfrm>
            <a:off x="3335631" y="813206"/>
            <a:ext cx="552073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  <a:buClr>
                <a:srgbClr val="E24848"/>
              </a:buClr>
              <a:defRPr/>
            </a:pPr>
            <a:r>
              <a:rPr lang="x-none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В</a:t>
            </a:r>
            <a:r>
              <a:rPr lang="uk-UA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ы</a:t>
            </a:r>
            <a:r>
              <a:rPr lang="x-none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г</a:t>
            </a:r>
            <a:r>
              <a:rPr lang="uk-UA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о</a:t>
            </a:r>
            <a:r>
              <a:rPr lang="x-none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д</a:t>
            </a:r>
            <a:r>
              <a:rPr lang="uk-UA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а</a:t>
            </a:r>
            <a:r>
              <a:rPr lang="x-none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 для всех уч</a:t>
            </a:r>
            <a:r>
              <a:rPr lang="uk-UA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а</a:t>
            </a:r>
            <a:r>
              <a:rPr lang="x-none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стников </a:t>
            </a:r>
            <a:r>
              <a:rPr lang="uk-UA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р</a:t>
            </a:r>
            <a:r>
              <a:rPr lang="x-none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ы</a:t>
            </a:r>
            <a:r>
              <a:rPr lang="uk-UA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н</a:t>
            </a:r>
            <a:r>
              <a:rPr lang="x-none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к</a:t>
            </a:r>
            <a:r>
              <a:rPr lang="uk-UA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а</a:t>
            </a:r>
            <a:endParaRPr lang="pt-BR" sz="1400" noProof="1">
              <a:latin typeface="+mj-lt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pic>
        <p:nvPicPr>
          <p:cNvPr id="16" name="Рисунок 15">
            <a:extLst>
              <a:ext uri="{FF2B5EF4-FFF2-40B4-BE49-F238E27FC236}">
                <a16:creationId xmlns="" xmlns:a16="http://schemas.microsoft.com/office/drawing/2014/main" id="{7CB190D3-6FA1-475D-BBDD-AA12081821F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20351" y="6439845"/>
            <a:ext cx="1035642" cy="284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21871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1CA209-181F-46EF-9285-755E64EE8A8B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3" name="Rectangle 2"/>
          <p:cNvSpPr/>
          <p:nvPr/>
        </p:nvSpPr>
        <p:spPr>
          <a:xfrm>
            <a:off x="2967172" y="356920"/>
            <a:ext cx="625765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  <a:buClr>
                <a:srgbClr val="E24848"/>
              </a:buClr>
              <a:defRPr/>
            </a:pPr>
            <a:r>
              <a:rPr lang="x-none" sz="3200" b="1" noProof="1"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П</a:t>
            </a:r>
            <a:r>
              <a:rPr lang="uk-UA" sz="3200" b="1" noProof="1"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Л</a:t>
            </a:r>
            <a:r>
              <a:rPr lang="x-none" sz="3200" b="1" noProof="1"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А</a:t>
            </a:r>
            <a:r>
              <a:rPr lang="uk-UA" sz="3200" b="1" noProof="1"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Н</a:t>
            </a:r>
            <a:r>
              <a:rPr lang="en-US" sz="3200" b="1" noProof="1">
                <a:solidFill>
                  <a:schemeClr val="tx2"/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x-none" sz="3200" b="1" noProof="1">
                <a:solidFill>
                  <a:schemeClr val="accent6">
                    <a:lumMod val="75000"/>
                  </a:schemeClr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Д</a:t>
            </a:r>
            <a:r>
              <a:rPr lang="uk-UA" sz="3200" b="1" noProof="1">
                <a:solidFill>
                  <a:schemeClr val="accent6">
                    <a:lumMod val="75000"/>
                  </a:schemeClr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Е</a:t>
            </a:r>
            <a:r>
              <a:rPr lang="x-none" sz="3200" b="1" noProof="1">
                <a:solidFill>
                  <a:schemeClr val="accent6">
                    <a:lumMod val="75000"/>
                  </a:schemeClr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Й</a:t>
            </a:r>
            <a:r>
              <a:rPr lang="uk-UA" sz="3200" b="1" noProof="1">
                <a:solidFill>
                  <a:schemeClr val="accent6">
                    <a:lumMod val="75000"/>
                  </a:schemeClr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С</a:t>
            </a:r>
            <a:r>
              <a:rPr lang="x-none" sz="3200" b="1" noProof="1">
                <a:solidFill>
                  <a:schemeClr val="accent6">
                    <a:lumMod val="75000"/>
                  </a:schemeClr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Т</a:t>
            </a:r>
            <a:r>
              <a:rPr lang="uk-UA" sz="3200" b="1" noProof="1">
                <a:solidFill>
                  <a:schemeClr val="accent6">
                    <a:lumMod val="75000"/>
                  </a:schemeClr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</a:t>
            </a:r>
            <a:r>
              <a:rPr lang="x-none" sz="3200" b="1" noProof="1">
                <a:solidFill>
                  <a:schemeClr val="accent6">
                    <a:lumMod val="75000"/>
                  </a:schemeClr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И</a:t>
            </a:r>
            <a:r>
              <a:rPr lang="uk-UA" sz="3200" b="1" noProof="1">
                <a:solidFill>
                  <a:schemeClr val="accent6">
                    <a:lumMod val="75000"/>
                  </a:schemeClr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Й</a:t>
            </a:r>
            <a:endParaRPr lang="en-US" sz="3200" b="1" noProof="1">
              <a:solidFill>
                <a:schemeClr val="accent6">
                  <a:lumMod val="75000"/>
                </a:schemeClr>
              </a:solidFill>
              <a:latin typeface="Roboto Condensed" panose="02000000000000000000" pitchFamily="2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3335631" y="813206"/>
            <a:ext cx="552073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  <a:buClr>
                <a:srgbClr val="E24848"/>
              </a:buClr>
              <a:defRPr/>
            </a:pPr>
            <a:r>
              <a:rPr lang="x-none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С </a:t>
            </a:r>
            <a:r>
              <a:rPr lang="uk-UA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ч</a:t>
            </a:r>
            <a:r>
              <a:rPr lang="x-none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е</a:t>
            </a:r>
            <a:r>
              <a:rPr lang="uk-UA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г</a:t>
            </a:r>
            <a:r>
              <a:rPr lang="x-none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о </a:t>
            </a:r>
            <a:r>
              <a:rPr lang="uk-UA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н</a:t>
            </a:r>
            <a:r>
              <a:rPr lang="x-none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а</a:t>
            </a:r>
            <a:r>
              <a:rPr lang="uk-UA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ч</a:t>
            </a:r>
            <a:r>
              <a:rPr lang="x-none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а</a:t>
            </a:r>
            <a:r>
              <a:rPr lang="uk-UA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т</a:t>
            </a:r>
            <a:r>
              <a:rPr lang="x-none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ь? </a:t>
            </a:r>
            <a:r>
              <a:rPr lang="uk-UA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К</a:t>
            </a:r>
            <a:r>
              <a:rPr lang="x-none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а</a:t>
            </a:r>
            <a:r>
              <a:rPr lang="uk-UA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к</a:t>
            </a:r>
            <a:r>
              <a:rPr lang="x-none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uk-UA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я</a:t>
            </a:r>
            <a:r>
              <a:rPr lang="x-none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uk-UA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м</a:t>
            </a:r>
            <a:r>
              <a:rPr lang="x-none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о</a:t>
            </a:r>
            <a:r>
              <a:rPr lang="uk-UA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г</a:t>
            </a:r>
            <a:r>
              <a:rPr lang="x-none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у </a:t>
            </a:r>
            <a:r>
              <a:rPr lang="uk-UA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э</a:t>
            </a:r>
            <a:r>
              <a:rPr lang="x-none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т</a:t>
            </a:r>
            <a:r>
              <a:rPr lang="uk-UA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о</a:t>
            </a:r>
            <a:r>
              <a:rPr lang="x-none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uk-UA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и</a:t>
            </a:r>
            <a:r>
              <a:rPr lang="x-none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с</a:t>
            </a:r>
            <a:r>
              <a:rPr lang="uk-UA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п</a:t>
            </a:r>
            <a:r>
              <a:rPr lang="x-none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о</a:t>
            </a:r>
            <a:r>
              <a:rPr lang="uk-UA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л</a:t>
            </a:r>
            <a:r>
              <a:rPr lang="x-none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ь</a:t>
            </a:r>
            <a:r>
              <a:rPr lang="uk-UA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з</a:t>
            </a:r>
            <a:r>
              <a:rPr lang="x-none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о</a:t>
            </a:r>
            <a:r>
              <a:rPr lang="uk-UA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в</a:t>
            </a:r>
            <a:r>
              <a:rPr lang="x-none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а</a:t>
            </a:r>
            <a:r>
              <a:rPr lang="uk-UA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т</a:t>
            </a:r>
            <a:r>
              <a:rPr lang="x-none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ь?</a:t>
            </a:r>
            <a:endParaRPr lang="pt-BR" sz="1400" noProof="1">
              <a:latin typeface="+mj-lt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59" name="Rectangle 58"/>
          <p:cNvSpPr/>
          <p:nvPr/>
        </p:nvSpPr>
        <p:spPr>
          <a:xfrm rot="728544">
            <a:off x="1646372" y="2399282"/>
            <a:ext cx="1320800" cy="13208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66"/>
          <p:cNvSpPr/>
          <p:nvPr/>
        </p:nvSpPr>
        <p:spPr>
          <a:xfrm rot="728544">
            <a:off x="4115485" y="2399282"/>
            <a:ext cx="1320800" cy="13208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0" name="Rectangle 69"/>
          <p:cNvSpPr/>
          <p:nvPr/>
        </p:nvSpPr>
        <p:spPr>
          <a:xfrm rot="728544">
            <a:off x="6879852" y="2399282"/>
            <a:ext cx="1320800" cy="132080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1" name="Rectangle 70"/>
          <p:cNvSpPr/>
          <p:nvPr/>
        </p:nvSpPr>
        <p:spPr>
          <a:xfrm>
            <a:off x="6876953" y="2487168"/>
            <a:ext cx="1199564" cy="1232916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3" name="Rectangle 72"/>
          <p:cNvSpPr/>
          <p:nvPr/>
        </p:nvSpPr>
        <p:spPr>
          <a:xfrm rot="728544">
            <a:off x="9348964" y="2399282"/>
            <a:ext cx="1320800" cy="132080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4" name="Rectangle 73"/>
          <p:cNvSpPr/>
          <p:nvPr/>
        </p:nvSpPr>
        <p:spPr>
          <a:xfrm>
            <a:off x="9350106" y="2487168"/>
            <a:ext cx="1186169" cy="1232916"/>
          </a:xfrm>
          <a:prstGeom prst="rect">
            <a:avLst/>
          </a:prstGeom>
          <a:blipFill>
            <a:blip r:embed="rId4"/>
            <a:stretch>
              <a:fillRect/>
            </a:stretch>
          </a:blip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5" name="Rectangle 74"/>
          <p:cNvSpPr/>
          <p:nvPr/>
        </p:nvSpPr>
        <p:spPr>
          <a:xfrm>
            <a:off x="1068868" y="4590058"/>
            <a:ext cx="215098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  <a:buClr>
                <a:srgbClr val="E24848"/>
              </a:buClr>
              <a:defRPr/>
            </a:pP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С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к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а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ч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а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т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ь 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э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т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у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п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р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е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з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е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н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т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а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ц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и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ю</a:t>
            </a:r>
            <a:r>
              <a:rPr lang="en-US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</a:p>
        </p:txBody>
      </p:sp>
      <p:sp>
        <p:nvSpPr>
          <p:cNvPr id="76" name="Rectangle 75"/>
          <p:cNvSpPr/>
          <p:nvPr/>
        </p:nvSpPr>
        <p:spPr>
          <a:xfrm>
            <a:off x="934209" y="4111932"/>
            <a:ext cx="2420301" cy="5847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algn="ctr">
              <a:spcBef>
                <a:spcPct val="0"/>
              </a:spcBef>
            </a:pPr>
            <a:r>
              <a:rPr lang="x-none" sz="1600" b="1" noProof="1"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ПРЕЗЕНТАЦИЯ</a:t>
            </a:r>
            <a:endParaRPr lang="en-US" sz="1600" b="1" noProof="1">
              <a:latin typeface="Roboto Condensed" panose="02000000000000000000" pitchFamily="2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77" name="Rectangle 76"/>
          <p:cNvSpPr/>
          <p:nvPr/>
        </p:nvSpPr>
        <p:spPr>
          <a:xfrm>
            <a:off x="3558068" y="4590058"/>
            <a:ext cx="215098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  <a:buClr>
                <a:srgbClr val="E24848"/>
              </a:buClr>
              <a:defRPr/>
            </a:pP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С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к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а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ч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а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т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ь 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д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о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к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л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а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д 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с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т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е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х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н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и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ч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е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с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к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и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м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и 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п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о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д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р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о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б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н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о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с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т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я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м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и</a:t>
            </a:r>
            <a:endParaRPr lang="en-US" sz="1200" noProof="1">
              <a:latin typeface="+mj-lt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78" name="Rectangle 77"/>
          <p:cNvSpPr/>
          <p:nvPr/>
        </p:nvSpPr>
        <p:spPr>
          <a:xfrm>
            <a:off x="3423409" y="4111932"/>
            <a:ext cx="2420301" cy="5847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algn="ctr">
              <a:spcBef>
                <a:spcPct val="0"/>
              </a:spcBef>
            </a:pPr>
            <a:r>
              <a:rPr lang="x-none" sz="1600" b="1" noProof="1"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Д</a:t>
            </a:r>
            <a:r>
              <a:rPr lang="uk-UA" sz="1600" b="1" noProof="1"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О</a:t>
            </a:r>
            <a:r>
              <a:rPr lang="x-none" sz="1600" b="1" noProof="1"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К</a:t>
            </a:r>
            <a:r>
              <a:rPr lang="uk-UA" sz="1600" b="1" noProof="1"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Л</a:t>
            </a:r>
            <a:r>
              <a:rPr lang="x-none" sz="1600" b="1" noProof="1"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А</a:t>
            </a:r>
            <a:r>
              <a:rPr lang="uk-UA" sz="1600" b="1" noProof="1"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Д</a:t>
            </a:r>
            <a:endParaRPr lang="en-US" sz="1600" b="1" noProof="1">
              <a:latin typeface="Roboto Condensed" panose="02000000000000000000" pitchFamily="2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79" name="Rectangle 78"/>
          <p:cNvSpPr/>
          <p:nvPr/>
        </p:nvSpPr>
        <p:spPr>
          <a:xfrm>
            <a:off x="6326668" y="4590058"/>
            <a:ext cx="215098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  <a:buClr>
                <a:srgbClr val="E24848"/>
              </a:buClr>
              <a:defRPr/>
            </a:pP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П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е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р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е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й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т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и 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н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а 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с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а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й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т ПРОКСИС и ознакомиться с оборуд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о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ванием</a:t>
            </a:r>
            <a:endParaRPr lang="en-US" sz="1200" noProof="1">
              <a:latin typeface="+mj-lt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80" name="Rectangle 79"/>
          <p:cNvSpPr/>
          <p:nvPr/>
        </p:nvSpPr>
        <p:spPr>
          <a:xfrm>
            <a:off x="6192009" y="4111932"/>
            <a:ext cx="2420301" cy="5847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algn="ctr">
              <a:spcBef>
                <a:spcPct val="0"/>
              </a:spcBef>
            </a:pPr>
            <a:r>
              <a:rPr lang="en-US" sz="1600" b="1" noProof="1"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  <a:hlinkClick r:id="rId5"/>
              </a:rPr>
              <a:t>WEB PROXIS</a:t>
            </a:r>
            <a:endParaRPr lang="en-US" sz="1600" b="1" noProof="1">
              <a:latin typeface="Roboto Condensed" panose="02000000000000000000" pitchFamily="2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81" name="Rectangle 80"/>
          <p:cNvSpPr/>
          <p:nvPr/>
        </p:nvSpPr>
        <p:spPr>
          <a:xfrm>
            <a:off x="8855616" y="4590058"/>
            <a:ext cx="215098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  <a:buClr>
                <a:srgbClr val="E24848"/>
              </a:buClr>
              <a:defRPr/>
            </a:pP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П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е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р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е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й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т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и 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н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а 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п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о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р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т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а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л </a:t>
            </a:r>
            <a:r>
              <a:rPr lang="en-US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WISE-PaaS 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и получить доступ к ознакомительным версиям</a:t>
            </a:r>
            <a:endParaRPr lang="en-US" sz="1200" noProof="1">
              <a:latin typeface="+mj-lt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82" name="Rectangle 81"/>
          <p:cNvSpPr/>
          <p:nvPr/>
        </p:nvSpPr>
        <p:spPr>
          <a:xfrm>
            <a:off x="8720957" y="4111932"/>
            <a:ext cx="2420301" cy="5847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algn="ctr">
              <a:spcBef>
                <a:spcPct val="0"/>
              </a:spcBef>
            </a:pPr>
            <a:r>
              <a:rPr lang="en-US" sz="1600" b="1" noProof="1"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  <a:hlinkClick r:id="rId6"/>
              </a:rPr>
              <a:t>WISE-PAAS</a:t>
            </a:r>
            <a:endParaRPr lang="en-US" sz="1600" b="1" noProof="1">
              <a:latin typeface="Roboto Condensed" panose="02000000000000000000" pitchFamily="2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84" name="Oval 83"/>
          <p:cNvSpPr/>
          <p:nvPr/>
        </p:nvSpPr>
        <p:spPr>
          <a:xfrm>
            <a:off x="7882270" y="2205774"/>
            <a:ext cx="442518" cy="442516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bg1">
                <a:lumMod val="85000"/>
              </a:schemeClr>
            </a:solidFill>
          </a:ln>
          <a:effectLst>
            <a:innerShdw blurRad="63500" dist="50800" dir="2700000">
              <a:prstClr val="black">
                <a:alpha val="38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3</a:t>
            </a:r>
          </a:p>
        </p:txBody>
      </p:sp>
      <p:sp>
        <p:nvSpPr>
          <p:cNvPr id="85" name="Oval 84"/>
          <p:cNvSpPr/>
          <p:nvPr/>
        </p:nvSpPr>
        <p:spPr>
          <a:xfrm>
            <a:off x="10351382" y="2264685"/>
            <a:ext cx="442518" cy="442516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bg1">
                <a:lumMod val="85000"/>
              </a:schemeClr>
            </a:solidFill>
          </a:ln>
          <a:effectLst>
            <a:innerShdw blurRad="63500" dist="50800" dir="2700000">
              <a:prstClr val="black">
                <a:alpha val="38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4</a:t>
            </a:r>
          </a:p>
        </p:txBody>
      </p:sp>
      <p:pic>
        <p:nvPicPr>
          <p:cNvPr id="41" name="Рисунок 40">
            <a:extLst>
              <a:ext uri="{FF2B5EF4-FFF2-40B4-BE49-F238E27FC236}">
                <a16:creationId xmlns="" xmlns:a16="http://schemas.microsoft.com/office/drawing/2014/main" id="{B94A2FB6-2507-483F-8709-F26994E48AB7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20351" y="6439845"/>
            <a:ext cx="1035642" cy="284736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="" xmlns:a16="http://schemas.microsoft.com/office/drawing/2014/main" id="{D60556D7-1EB5-44C9-8875-8D77B5CFA538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62868" y="5751789"/>
            <a:ext cx="866263" cy="866263"/>
          </a:xfrm>
          <a:prstGeom prst="rect">
            <a:avLst/>
          </a:prstGeom>
        </p:spPr>
      </p:pic>
      <p:sp>
        <p:nvSpPr>
          <p:cNvPr id="28" name="Rectangle 69"/>
          <p:cNvSpPr/>
          <p:nvPr/>
        </p:nvSpPr>
        <p:spPr>
          <a:xfrm rot="728544">
            <a:off x="1622424" y="2408518"/>
            <a:ext cx="1320800" cy="132080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Rectangle 72"/>
          <p:cNvSpPr/>
          <p:nvPr/>
        </p:nvSpPr>
        <p:spPr>
          <a:xfrm rot="728544">
            <a:off x="4091536" y="2408518"/>
            <a:ext cx="1320800" cy="132080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6366" y="2487168"/>
            <a:ext cx="1232916" cy="1232916"/>
          </a:xfrm>
          <a:prstGeom prst="rect">
            <a:avLst/>
          </a:prstGeom>
          <a:scene3d>
            <a:camera prst="orthographicFront"/>
            <a:lightRig rig="threePt" dir="t"/>
          </a:scene3d>
          <a:sp3d contourW="6350"/>
        </p:spPr>
      </p:pic>
      <p:pic>
        <p:nvPicPr>
          <p:cNvPr id="34" name="Рисунок 33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9234" y="2487168"/>
            <a:ext cx="1232916" cy="1232916"/>
          </a:xfrm>
          <a:prstGeom prst="rect">
            <a:avLst/>
          </a:prstGeom>
          <a:scene3d>
            <a:camera prst="orthographicFront"/>
            <a:lightRig rig="threePt" dir="t"/>
          </a:scene3d>
          <a:sp3d contourW="6350"/>
        </p:spPr>
      </p:pic>
      <p:sp>
        <p:nvSpPr>
          <p:cNvPr id="32" name="Oval 83"/>
          <p:cNvSpPr/>
          <p:nvPr/>
        </p:nvSpPr>
        <p:spPr>
          <a:xfrm>
            <a:off x="2777334" y="2265910"/>
            <a:ext cx="442518" cy="442516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bg1">
                <a:lumMod val="85000"/>
              </a:schemeClr>
            </a:solidFill>
          </a:ln>
          <a:effectLst>
            <a:innerShdw blurRad="63500" dist="50800" dir="2700000">
              <a:prstClr val="black">
                <a:alpha val="38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1</a:t>
            </a:r>
            <a:endParaRPr lang="en-US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3" name="Oval 84"/>
          <p:cNvSpPr/>
          <p:nvPr/>
        </p:nvSpPr>
        <p:spPr>
          <a:xfrm>
            <a:off x="5220350" y="2260659"/>
            <a:ext cx="442518" cy="442516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bg1">
                <a:lumMod val="85000"/>
              </a:schemeClr>
            </a:solidFill>
          </a:ln>
          <a:effectLst>
            <a:innerShdw blurRad="63500" dist="50800" dir="2700000">
              <a:prstClr val="black">
                <a:alpha val="38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2</a:t>
            </a:r>
            <a:endParaRPr lang="en-US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88803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="" xmlns:a16="http://schemas.microsoft.com/office/drawing/2014/main" id="{B2129EC8-C438-4B24-A786-51D557707EE4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52" r="5652"/>
          <a:stretch>
            <a:fillRect/>
          </a:stretch>
        </p:blipFill>
        <p:spPr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1CA209-181F-46EF-9285-755E64EE8A8B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6522676" y="2494232"/>
            <a:ext cx="4967575" cy="26442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lnSpc>
                <a:spcPct val="150000"/>
              </a:lnSpc>
              <a:buClr>
                <a:srgbClr val="E24848"/>
              </a:buClr>
              <a:buFont typeface="Arial" panose="020B0604020202020204" pitchFamily="34" charset="0"/>
              <a:buChar char="•"/>
              <a:defRPr/>
            </a:pPr>
            <a:r>
              <a:rPr lang="en-US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Industry 4.0 (</a:t>
            </a:r>
            <a:r>
              <a:rPr lang="uk-UA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Промышленность 4.0)</a:t>
            </a:r>
          </a:p>
          <a:p>
            <a:pPr marL="285750" indent="-285750" algn="just">
              <a:lnSpc>
                <a:spcPct val="150000"/>
              </a:lnSpc>
              <a:buClr>
                <a:srgbClr val="E24848"/>
              </a:buClr>
              <a:buFont typeface="Arial" panose="020B0604020202020204" pitchFamily="34" charset="0"/>
              <a:buChar char="•"/>
              <a:defRPr/>
            </a:pPr>
            <a:r>
              <a:rPr lang="en-US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IIoT (</a:t>
            </a:r>
            <a:r>
              <a:rPr lang="uk-UA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Промышленный интернет вещей)</a:t>
            </a:r>
          </a:p>
          <a:p>
            <a:pPr marL="285750" indent="-285750" algn="just">
              <a:lnSpc>
                <a:spcPct val="150000"/>
              </a:lnSpc>
              <a:buClr>
                <a:srgbClr val="E24848"/>
              </a:buClr>
              <a:buFont typeface="Arial" panose="020B0604020202020204" pitchFamily="34" charset="0"/>
              <a:buChar char="•"/>
              <a:defRPr/>
            </a:pPr>
            <a:r>
              <a:rPr lang="en-US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Cloud technology (</a:t>
            </a:r>
            <a:r>
              <a:rPr lang="uk-UA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облачные технологии)</a:t>
            </a:r>
          </a:p>
          <a:p>
            <a:pPr marL="285750" indent="-285750" algn="just">
              <a:lnSpc>
                <a:spcPct val="150000"/>
              </a:lnSpc>
              <a:buClr>
                <a:srgbClr val="E24848"/>
              </a:buClr>
              <a:buFont typeface="Arial" panose="020B0604020202020204" pitchFamily="34" charset="0"/>
              <a:buChar char="•"/>
              <a:defRPr/>
            </a:pPr>
            <a:r>
              <a:rPr lang="en-US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BigData (</a:t>
            </a:r>
            <a:r>
              <a:rPr lang="uk-UA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Большие даные)</a:t>
            </a:r>
          </a:p>
          <a:p>
            <a:pPr marL="285750" indent="-285750" algn="just">
              <a:lnSpc>
                <a:spcPct val="150000"/>
              </a:lnSpc>
              <a:buClr>
                <a:srgbClr val="E24848"/>
              </a:buClr>
              <a:buFont typeface="Arial" panose="020B0604020202020204" pitchFamily="34" charset="0"/>
              <a:buChar char="•"/>
              <a:defRPr/>
            </a:pPr>
            <a:r>
              <a:rPr lang="en-US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PaaS (</a:t>
            </a:r>
            <a:r>
              <a:rPr lang="uk-UA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Платформа как сервис)</a:t>
            </a:r>
          </a:p>
          <a:p>
            <a:pPr marL="285750" indent="-285750" algn="just">
              <a:lnSpc>
                <a:spcPct val="150000"/>
              </a:lnSpc>
              <a:buClr>
                <a:srgbClr val="E24848"/>
              </a:buClr>
              <a:buFont typeface="Arial" panose="020B0604020202020204" pitchFamily="34" charset="0"/>
              <a:buChar char="•"/>
              <a:defRPr/>
            </a:pPr>
            <a:r>
              <a:rPr lang="en-US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SRP (</a:t>
            </a:r>
            <a:r>
              <a:rPr lang="uk-UA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Платформа готовых решений)</a:t>
            </a:r>
          </a:p>
          <a:p>
            <a:pPr marL="285750" indent="-285750" algn="just">
              <a:lnSpc>
                <a:spcPct val="150000"/>
              </a:lnSpc>
              <a:buClr>
                <a:srgbClr val="E24848"/>
              </a:buClr>
              <a:buFont typeface="Arial" panose="020B0604020202020204" pitchFamily="34" charset="0"/>
              <a:buChar char="•"/>
              <a:defRPr/>
            </a:pPr>
            <a:r>
              <a:rPr lang="en-US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Smart Factory (</a:t>
            </a:r>
            <a:r>
              <a:rPr lang="uk-UA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умные фабрики)</a:t>
            </a:r>
          </a:p>
          <a:p>
            <a:pPr algn="just">
              <a:lnSpc>
                <a:spcPct val="150000"/>
              </a:lnSpc>
              <a:buClr>
                <a:srgbClr val="E24848"/>
              </a:buClr>
              <a:defRPr/>
            </a:pPr>
            <a:endParaRPr lang="en-US" sz="1400" noProof="1">
              <a:latin typeface="+mj-lt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6522677" y="716613"/>
            <a:ext cx="4967574" cy="16466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buClr>
                <a:srgbClr val="E24848"/>
              </a:buClr>
            </a:pPr>
            <a:r>
              <a:rPr lang="en-US" sz="3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Advantech WISE-Paas драйвер Industry 4.0</a:t>
            </a:r>
            <a:endParaRPr lang="x-none" sz="3200" noProof="1">
              <a:latin typeface="+mj-lt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>
              <a:spcBef>
                <a:spcPts val="600"/>
              </a:spcBef>
              <a:buClr>
                <a:srgbClr val="E24848"/>
              </a:buClr>
            </a:pPr>
            <a:r>
              <a:rPr lang="x-none" sz="3200" b="1" noProof="1">
                <a:solidFill>
                  <a:schemeClr val="accent6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К</a:t>
            </a:r>
            <a:r>
              <a:rPr lang="uk-UA" sz="3200" b="1" noProof="1">
                <a:solidFill>
                  <a:schemeClr val="accent6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л</a:t>
            </a:r>
            <a:r>
              <a:rPr lang="x-none" sz="3200" b="1" noProof="1">
                <a:solidFill>
                  <a:schemeClr val="accent6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ю</a:t>
            </a:r>
            <a:r>
              <a:rPr lang="uk-UA" sz="3200" b="1" noProof="1">
                <a:solidFill>
                  <a:schemeClr val="accent6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ч</a:t>
            </a:r>
            <a:r>
              <a:rPr lang="x-none" sz="3200" b="1" noProof="1">
                <a:solidFill>
                  <a:schemeClr val="accent6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е</a:t>
            </a:r>
            <a:r>
              <a:rPr lang="uk-UA" sz="3200" b="1" noProof="1">
                <a:solidFill>
                  <a:schemeClr val="accent6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в</a:t>
            </a:r>
            <a:r>
              <a:rPr lang="x-none" sz="3200" b="1" noProof="1">
                <a:solidFill>
                  <a:schemeClr val="accent6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ы</a:t>
            </a:r>
            <a:r>
              <a:rPr lang="uk-UA" sz="3200" b="1" noProof="1">
                <a:solidFill>
                  <a:schemeClr val="accent6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е</a:t>
            </a:r>
            <a:r>
              <a:rPr lang="x-none" sz="3200" b="1" noProof="1">
                <a:solidFill>
                  <a:schemeClr val="accent6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 слова</a:t>
            </a:r>
            <a:endParaRPr lang="en-US" sz="3200" b="1" noProof="1">
              <a:solidFill>
                <a:schemeClr val="accent6"/>
              </a:solidFill>
              <a:latin typeface="+mj-lt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Straight Connector 2"/>
          <p:cNvCxnSpPr/>
          <p:nvPr/>
        </p:nvCxnSpPr>
        <p:spPr>
          <a:xfrm>
            <a:off x="6586060" y="2465204"/>
            <a:ext cx="4767539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Рисунок 9">
            <a:extLst>
              <a:ext uri="{FF2B5EF4-FFF2-40B4-BE49-F238E27FC236}">
                <a16:creationId xmlns="" xmlns:a16="http://schemas.microsoft.com/office/drawing/2014/main" id="{4C4A922E-E094-403C-8513-581BF80D95C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20351" y="6439845"/>
            <a:ext cx="1035642" cy="284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17545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ound Same Side Corner Rectangle 21"/>
          <p:cNvSpPr/>
          <p:nvPr/>
        </p:nvSpPr>
        <p:spPr>
          <a:xfrm>
            <a:off x="533400" y="1423888"/>
            <a:ext cx="11125200" cy="4775200"/>
          </a:xfrm>
          <a:prstGeom prst="round2SameRect">
            <a:avLst>
              <a:gd name="adj1" fmla="val 0"/>
              <a:gd name="adj2" fmla="val 0"/>
            </a:avLst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lumMod val="85000"/>
                  <a:alpha val="52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  <a:effectLst>
            <a:outerShdw blurRad="50800" dist="38100" dir="5400000" algn="t" rotWithShape="0">
              <a:prstClr val="black">
                <a:alpha val="11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Рисунок 5">
            <a:extLst>
              <a:ext uri="{FF2B5EF4-FFF2-40B4-BE49-F238E27FC236}">
                <a16:creationId xmlns="" xmlns:a16="http://schemas.microsoft.com/office/drawing/2014/main" id="{C7DE20D8-906C-4152-A2D1-1B9ED822E336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1229" b="9723"/>
          <a:stretch/>
        </p:blipFill>
        <p:spPr>
          <a:xfrm>
            <a:off x="693738" y="1549400"/>
            <a:ext cx="5274576" cy="2578100"/>
          </a:xfrm>
          <a:solidFill>
            <a:schemeClr val="bg1">
              <a:lumMod val="8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pic>
      <p:pic>
        <p:nvPicPr>
          <p:cNvPr id="8" name="Рисунок 7">
            <a:extLst>
              <a:ext uri="{FF2B5EF4-FFF2-40B4-BE49-F238E27FC236}">
                <a16:creationId xmlns="" xmlns:a16="http://schemas.microsoft.com/office/drawing/2014/main" id="{F8467CF9-9FE8-430D-9EBD-E11E652CE752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78063" y="1549400"/>
            <a:ext cx="5156200" cy="2578100"/>
          </a:xfrm>
          <a:solidFill>
            <a:schemeClr val="bg1">
              <a:lumMod val="8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1CA209-181F-46EF-9285-755E64EE8A8B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19" name="Rectangle 18"/>
          <p:cNvSpPr/>
          <p:nvPr/>
        </p:nvSpPr>
        <p:spPr>
          <a:xfrm>
            <a:off x="749515" y="4794428"/>
            <a:ext cx="4883642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lnSpc>
                <a:spcPct val="150000"/>
              </a:lnSpc>
              <a:buClr>
                <a:schemeClr val="tx1">
                  <a:lumMod val="50000"/>
                  <a:lumOff val="50000"/>
                </a:schemeClr>
              </a:buClr>
              <a:buFont typeface="Arial" panose="020B0604020202020204" pitchFamily="34" charset="0"/>
              <a:buChar char="•"/>
              <a:defRPr/>
            </a:pP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М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е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х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а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ни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з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ация и 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п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а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р</a:t>
            </a:r>
            <a:endParaRPr lang="en-US" sz="1200" noProof="1">
              <a:latin typeface="+mj-lt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171450" indent="-171450">
              <a:lnSpc>
                <a:spcPct val="150000"/>
              </a:lnSpc>
              <a:buClr>
                <a:schemeClr val="tx1">
                  <a:lumMod val="50000"/>
                  <a:lumOff val="50000"/>
                </a:schemeClr>
              </a:buClr>
              <a:buFont typeface="Arial" panose="020B0604020202020204" pitchFamily="34" charset="0"/>
              <a:buChar char="•"/>
              <a:defRPr/>
            </a:pP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Ма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с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со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в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о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е 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п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р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о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и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з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в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о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д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с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т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в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о 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и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к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о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н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в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е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й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е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р</a:t>
            </a:r>
            <a:endParaRPr lang="en-US" sz="1200" noProof="1">
              <a:latin typeface="+mj-lt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171450" indent="-171450">
              <a:lnSpc>
                <a:spcPct val="150000"/>
              </a:lnSpc>
              <a:buClr>
                <a:schemeClr val="tx1">
                  <a:lumMod val="50000"/>
                  <a:lumOff val="50000"/>
                </a:schemeClr>
              </a:buClr>
              <a:buFont typeface="Arial" panose="020B0604020202020204" pitchFamily="34" charset="0"/>
              <a:buChar char="•"/>
              <a:defRPr/>
            </a:pP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А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в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т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о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м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а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т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и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з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а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ц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и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я 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и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р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о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б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о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т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ы</a:t>
            </a:r>
            <a:endParaRPr lang="en-US" sz="1200" noProof="1">
              <a:latin typeface="+mj-lt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171450" indent="-171450">
              <a:lnSpc>
                <a:spcPct val="150000"/>
              </a:lnSpc>
              <a:buClr>
                <a:schemeClr val="tx1">
                  <a:lumMod val="50000"/>
                  <a:lumOff val="50000"/>
                </a:schemeClr>
              </a:buClr>
              <a:buFont typeface="Arial" panose="020B0604020202020204" pitchFamily="34" charset="0"/>
              <a:buChar char="•"/>
              <a:defRPr/>
            </a:pP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К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и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б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е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рфизические системы, интернет вещей, сети</a:t>
            </a:r>
            <a:endParaRPr lang="en-US" sz="1200" noProof="1">
              <a:latin typeface="+mj-lt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2967171" y="356830"/>
            <a:ext cx="625765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  <a:buClr>
                <a:srgbClr val="E24848"/>
              </a:buClr>
              <a:defRPr/>
            </a:pPr>
            <a:r>
              <a:rPr lang="uk-UA" sz="3200" b="1" noProof="1"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Ч</a:t>
            </a:r>
            <a:r>
              <a:rPr lang="x-none" sz="3200" b="1" noProof="1"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Т</a:t>
            </a:r>
            <a:r>
              <a:rPr lang="uk-UA" sz="3200" b="1" noProof="1"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О</a:t>
            </a:r>
            <a:r>
              <a:rPr lang="x-none" sz="3200" b="1" noProof="1"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uk-UA" sz="3200" b="1" noProof="1"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Т</a:t>
            </a:r>
            <a:r>
              <a:rPr lang="x-none" sz="3200" b="1" noProof="1"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А</a:t>
            </a:r>
            <a:r>
              <a:rPr lang="uk-UA" sz="3200" b="1" noProof="1"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К</a:t>
            </a:r>
            <a:r>
              <a:rPr lang="x-none" sz="3200" b="1" noProof="1"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О</a:t>
            </a:r>
            <a:r>
              <a:rPr lang="uk-UA" sz="3200" b="1" noProof="1"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Е</a:t>
            </a:r>
            <a:r>
              <a:rPr lang="x-none" sz="3200" b="1" noProof="1"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x-none" sz="3200" b="1" noProof="1">
                <a:solidFill>
                  <a:schemeClr val="accent6">
                    <a:lumMod val="75000"/>
                  </a:schemeClr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И</a:t>
            </a:r>
            <a:r>
              <a:rPr lang="uk-UA" sz="3200" b="1" noProof="1">
                <a:solidFill>
                  <a:schemeClr val="accent6">
                    <a:lumMod val="75000"/>
                  </a:schemeClr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Н</a:t>
            </a:r>
            <a:r>
              <a:rPr lang="x-none" sz="3200" b="1" noProof="1">
                <a:solidFill>
                  <a:schemeClr val="accent6">
                    <a:lumMod val="75000"/>
                  </a:schemeClr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Д</a:t>
            </a:r>
            <a:r>
              <a:rPr lang="uk-UA" sz="3200" b="1" noProof="1">
                <a:solidFill>
                  <a:schemeClr val="accent6">
                    <a:lumMod val="75000"/>
                  </a:schemeClr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У</a:t>
            </a:r>
            <a:r>
              <a:rPr lang="x-none" sz="3200" b="1" noProof="1">
                <a:solidFill>
                  <a:schemeClr val="accent6">
                    <a:lumMod val="75000"/>
                  </a:schemeClr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С</a:t>
            </a:r>
            <a:r>
              <a:rPr lang="uk-UA" sz="3200" b="1" noProof="1">
                <a:solidFill>
                  <a:schemeClr val="accent6">
                    <a:lumMod val="75000"/>
                  </a:schemeClr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Т</a:t>
            </a:r>
            <a:r>
              <a:rPr lang="x-none" sz="3200" b="1" noProof="1">
                <a:solidFill>
                  <a:schemeClr val="accent6">
                    <a:lumMod val="75000"/>
                  </a:schemeClr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Р</a:t>
            </a:r>
            <a:r>
              <a:rPr lang="uk-UA" sz="3200" b="1" noProof="1">
                <a:solidFill>
                  <a:schemeClr val="accent6">
                    <a:lumMod val="75000"/>
                  </a:schemeClr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И</a:t>
            </a:r>
            <a:r>
              <a:rPr lang="x-none" sz="3200" b="1" noProof="1">
                <a:solidFill>
                  <a:schemeClr val="accent6">
                    <a:lumMod val="75000"/>
                  </a:schemeClr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Я 4.0</a:t>
            </a:r>
            <a:r>
              <a:rPr lang="x-none" sz="3200" b="1" noProof="1"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?</a:t>
            </a:r>
            <a:endParaRPr lang="en-US" sz="3200" b="1" noProof="1">
              <a:latin typeface="Roboto Condensed" panose="02000000000000000000" pitchFamily="2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3335631" y="813206"/>
            <a:ext cx="552073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  <a:buClr>
                <a:srgbClr val="E24848"/>
              </a:buClr>
              <a:defRPr/>
            </a:pPr>
            <a:r>
              <a:rPr lang="x-none" dirty="0"/>
              <a:t>С</a:t>
            </a:r>
            <a:r>
              <a:rPr lang="ru-RU" dirty="0"/>
              <a:t>трах, неизвестность и обманутые надежды</a:t>
            </a:r>
            <a:r>
              <a:rPr lang="x-none" dirty="0"/>
              <a:t>?</a:t>
            </a:r>
            <a:endParaRPr lang="pt-BR" sz="1400" noProof="1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825715" y="4331113"/>
            <a:ext cx="4152685" cy="406265"/>
          </a:xfrm>
          <a:prstGeom prst="rect">
            <a:avLst/>
          </a:prstGeom>
          <a:solidFill>
            <a:schemeClr val="accent6"/>
          </a:solidFill>
        </p:spPr>
        <p:txBody>
          <a:bodyPr wrap="square">
            <a:noAutofit/>
          </a:bodyPr>
          <a:lstStyle/>
          <a:p>
            <a:pPr>
              <a:spcBef>
                <a:spcPts val="600"/>
              </a:spcBef>
              <a:buClr>
                <a:srgbClr val="E24848"/>
              </a:buClr>
            </a:pPr>
            <a:r>
              <a:rPr lang="x-none" b="1" dirty="0">
                <a:solidFill>
                  <a:schemeClr val="bg1"/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П</a:t>
            </a:r>
            <a:r>
              <a:rPr lang="uk-UA" b="1" dirty="0">
                <a:solidFill>
                  <a:schemeClr val="bg1"/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р</a:t>
            </a:r>
            <a:r>
              <a:rPr lang="x-none" b="1" dirty="0">
                <a:solidFill>
                  <a:schemeClr val="bg1"/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о</a:t>
            </a:r>
            <a:r>
              <a:rPr lang="uk-UA" b="1" dirty="0">
                <a:solidFill>
                  <a:schemeClr val="bg1"/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м</a:t>
            </a:r>
            <a:r>
              <a:rPr lang="x-none" b="1" dirty="0">
                <a:solidFill>
                  <a:schemeClr val="bg1"/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ы</a:t>
            </a:r>
            <a:r>
              <a:rPr lang="uk-UA" b="1" dirty="0">
                <a:solidFill>
                  <a:schemeClr val="bg1"/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ш</a:t>
            </a:r>
            <a:r>
              <a:rPr lang="x-none" b="1" dirty="0">
                <a:solidFill>
                  <a:schemeClr val="bg1"/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л</a:t>
            </a:r>
            <a:r>
              <a:rPr lang="uk-UA" b="1" dirty="0">
                <a:solidFill>
                  <a:schemeClr val="bg1"/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е</a:t>
            </a:r>
            <a:r>
              <a:rPr lang="x-none" b="1" dirty="0">
                <a:solidFill>
                  <a:schemeClr val="bg1"/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н</a:t>
            </a:r>
            <a:r>
              <a:rPr lang="uk-UA" b="1" dirty="0">
                <a:solidFill>
                  <a:schemeClr val="bg1"/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н</a:t>
            </a:r>
            <a:r>
              <a:rPr lang="x-none" b="1" dirty="0">
                <a:solidFill>
                  <a:schemeClr val="bg1"/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ы</a:t>
            </a:r>
            <a:r>
              <a:rPr lang="uk-UA" b="1" dirty="0">
                <a:solidFill>
                  <a:schemeClr val="bg1"/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е</a:t>
            </a:r>
            <a:r>
              <a:rPr lang="x-none" b="1" dirty="0">
                <a:solidFill>
                  <a:schemeClr val="bg1"/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uk-UA" b="1" dirty="0">
                <a:solidFill>
                  <a:schemeClr val="bg1"/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р</a:t>
            </a:r>
            <a:r>
              <a:rPr lang="x-none" b="1" dirty="0">
                <a:solidFill>
                  <a:schemeClr val="bg1"/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е</a:t>
            </a:r>
            <a:r>
              <a:rPr lang="uk-UA" b="1" dirty="0">
                <a:solidFill>
                  <a:schemeClr val="bg1"/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</a:t>
            </a:r>
            <a:r>
              <a:rPr lang="x-none" b="1" dirty="0">
                <a:solidFill>
                  <a:schemeClr val="bg1"/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о</a:t>
            </a:r>
            <a:r>
              <a:rPr lang="uk-UA" b="1" dirty="0">
                <a:solidFill>
                  <a:schemeClr val="bg1"/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л</a:t>
            </a:r>
            <a:r>
              <a:rPr lang="x-none" b="1" dirty="0">
                <a:solidFill>
                  <a:schemeClr val="bg1"/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ю</a:t>
            </a:r>
            <a:r>
              <a:rPr lang="uk-UA" b="1" dirty="0">
                <a:solidFill>
                  <a:schemeClr val="bg1"/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ц</a:t>
            </a:r>
            <a:r>
              <a:rPr lang="x-none" b="1" dirty="0">
                <a:solidFill>
                  <a:schemeClr val="bg1"/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и</a:t>
            </a:r>
            <a:r>
              <a:rPr lang="uk-UA" b="1" dirty="0">
                <a:solidFill>
                  <a:schemeClr val="bg1"/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и</a:t>
            </a:r>
            <a:endParaRPr lang="en-US" b="1" dirty="0">
              <a:solidFill>
                <a:schemeClr val="bg1"/>
              </a:solidFill>
              <a:latin typeface="Roboto Condensed" panose="02000000000000000000" pitchFamily="2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6606609" y="4331113"/>
            <a:ext cx="3813742" cy="406265"/>
          </a:xfrm>
          <a:prstGeom prst="rect">
            <a:avLst/>
          </a:prstGeom>
          <a:solidFill>
            <a:schemeClr val="accent6"/>
          </a:solidFill>
        </p:spPr>
        <p:txBody>
          <a:bodyPr wrap="square">
            <a:noAutofit/>
          </a:bodyPr>
          <a:lstStyle/>
          <a:p>
            <a:pPr>
              <a:spcBef>
                <a:spcPts val="600"/>
              </a:spcBef>
              <a:buClr>
                <a:srgbClr val="E24848"/>
              </a:buClr>
            </a:pPr>
            <a:r>
              <a:rPr lang="uk-UA" b="1" dirty="0">
                <a:solidFill>
                  <a:schemeClr val="bg1"/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Р</a:t>
            </a:r>
            <a:r>
              <a:rPr lang="x-none" b="1" dirty="0">
                <a:solidFill>
                  <a:schemeClr val="bg1"/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е</a:t>
            </a:r>
            <a:r>
              <a:rPr lang="uk-UA" b="1" dirty="0">
                <a:solidFill>
                  <a:schemeClr val="bg1"/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</a:t>
            </a:r>
            <a:r>
              <a:rPr lang="x-none" b="1" dirty="0">
                <a:solidFill>
                  <a:schemeClr val="bg1"/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о</a:t>
            </a:r>
            <a:r>
              <a:rPr lang="uk-UA" b="1" dirty="0">
                <a:solidFill>
                  <a:schemeClr val="bg1"/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л</a:t>
            </a:r>
            <a:r>
              <a:rPr lang="x-none" b="1" dirty="0">
                <a:solidFill>
                  <a:schemeClr val="bg1"/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ю</a:t>
            </a:r>
            <a:r>
              <a:rPr lang="uk-UA" b="1" dirty="0">
                <a:solidFill>
                  <a:schemeClr val="bg1"/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ц</a:t>
            </a:r>
            <a:r>
              <a:rPr lang="x-none" b="1" dirty="0">
                <a:solidFill>
                  <a:schemeClr val="bg1"/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и</a:t>
            </a:r>
            <a:r>
              <a:rPr lang="uk-UA" b="1" dirty="0">
                <a:solidFill>
                  <a:schemeClr val="bg1"/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я</a:t>
            </a:r>
            <a:r>
              <a:rPr lang="x-none" b="1" dirty="0">
                <a:solidFill>
                  <a:schemeClr val="bg1"/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uk-UA" b="1" dirty="0">
                <a:solidFill>
                  <a:schemeClr val="bg1"/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к</a:t>
            </a:r>
            <a:r>
              <a:rPr lang="x-none" b="1" dirty="0">
                <a:solidFill>
                  <a:schemeClr val="bg1"/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о</a:t>
            </a:r>
            <a:r>
              <a:rPr lang="uk-UA" b="1" dirty="0">
                <a:solidFill>
                  <a:schemeClr val="bg1"/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м</a:t>
            </a:r>
            <a:r>
              <a:rPr lang="x-none" b="1" dirty="0">
                <a:solidFill>
                  <a:schemeClr val="bg1"/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м</a:t>
            </a:r>
            <a:r>
              <a:rPr lang="uk-UA" b="1" dirty="0">
                <a:solidFill>
                  <a:schemeClr val="bg1"/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у</a:t>
            </a:r>
            <a:r>
              <a:rPr lang="x-none" b="1" dirty="0">
                <a:solidFill>
                  <a:schemeClr val="bg1"/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н</a:t>
            </a:r>
            <a:r>
              <a:rPr lang="uk-UA" b="1" dirty="0">
                <a:solidFill>
                  <a:schemeClr val="bg1"/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и</a:t>
            </a:r>
            <a:r>
              <a:rPr lang="x-none" b="1" dirty="0">
                <a:solidFill>
                  <a:schemeClr val="bg1"/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к</a:t>
            </a:r>
            <a:r>
              <a:rPr lang="uk-UA" b="1" dirty="0">
                <a:solidFill>
                  <a:schemeClr val="bg1"/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а</a:t>
            </a:r>
            <a:r>
              <a:rPr lang="x-none" b="1" dirty="0">
                <a:solidFill>
                  <a:schemeClr val="bg1"/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ц</a:t>
            </a:r>
            <a:r>
              <a:rPr lang="uk-UA" b="1" dirty="0">
                <a:solidFill>
                  <a:schemeClr val="bg1"/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и</a:t>
            </a:r>
            <a:r>
              <a:rPr lang="x-none" b="1" dirty="0">
                <a:solidFill>
                  <a:schemeClr val="bg1"/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й</a:t>
            </a:r>
            <a:endParaRPr lang="en-US" b="1" dirty="0">
              <a:solidFill>
                <a:schemeClr val="bg1"/>
              </a:solidFill>
              <a:latin typeface="Roboto Condensed" panose="02000000000000000000" pitchFamily="2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6594135" y="4794428"/>
            <a:ext cx="4883642" cy="14465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lnSpc>
                <a:spcPct val="150000"/>
              </a:lnSpc>
              <a:buClr>
                <a:schemeClr val="tx1">
                  <a:lumMod val="50000"/>
                  <a:lumOff val="50000"/>
                </a:schemeClr>
              </a:buClr>
              <a:buFont typeface="Arial" panose="020B0604020202020204" pitchFamily="34" charset="0"/>
              <a:buChar char="•"/>
              <a:defRPr/>
            </a:pP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К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и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берфизические 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с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и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с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т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е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м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ы</a:t>
            </a:r>
            <a:endParaRPr lang="en-US" sz="1200" noProof="1">
              <a:latin typeface="+mj-lt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171450" indent="-171450">
              <a:lnSpc>
                <a:spcPct val="150000"/>
              </a:lnSpc>
              <a:buClr>
                <a:schemeClr val="tx1">
                  <a:lumMod val="50000"/>
                  <a:lumOff val="50000"/>
                </a:schemeClr>
              </a:buClr>
              <a:buFont typeface="Arial" panose="020B0604020202020204" pitchFamily="34" charset="0"/>
              <a:buChar char="•"/>
              <a:defRPr/>
            </a:pP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М2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М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к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о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м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м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у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н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ик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а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ц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и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и</a:t>
            </a:r>
            <a:endParaRPr lang="en-US" sz="1200" noProof="1">
              <a:latin typeface="+mj-lt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171450" indent="-171450">
              <a:lnSpc>
                <a:spcPct val="150000"/>
              </a:lnSpc>
              <a:buClr>
                <a:schemeClr val="tx1">
                  <a:lumMod val="50000"/>
                  <a:lumOff val="50000"/>
                </a:schemeClr>
              </a:buClr>
              <a:buFont typeface="Arial" panose="020B0604020202020204" pitchFamily="34" charset="0"/>
              <a:buChar char="•"/>
              <a:defRPr/>
            </a:pP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С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м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а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р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т-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п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р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о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д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у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к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т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ы</a:t>
            </a:r>
            <a:endParaRPr lang="en-US" sz="1200" noProof="1">
              <a:latin typeface="+mj-lt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171450" indent="-171450">
              <a:lnSpc>
                <a:spcPct val="150000"/>
              </a:lnSpc>
              <a:buClr>
                <a:schemeClr val="tx1">
                  <a:lumMod val="50000"/>
                  <a:lumOff val="50000"/>
                </a:schemeClr>
              </a:buClr>
              <a:buFont typeface="Arial" panose="020B0604020202020204" pitchFamily="34" charset="0"/>
              <a:buChar char="•"/>
              <a:defRPr/>
            </a:pP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И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н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т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е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р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н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е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т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в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е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щ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е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й</a:t>
            </a:r>
            <a:endParaRPr lang="x-none" sz="1200" noProof="1">
              <a:latin typeface="+mj-lt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171450" indent="-171450">
              <a:lnSpc>
                <a:spcPct val="150000"/>
              </a:lnSpc>
              <a:buClr>
                <a:schemeClr val="tx1">
                  <a:lumMod val="50000"/>
                  <a:lumOff val="50000"/>
                </a:schemeClr>
              </a:buClr>
              <a:buFont typeface="Arial" panose="020B0604020202020204" pitchFamily="34" charset="0"/>
              <a:buChar char="•"/>
              <a:defRPr/>
            </a:pP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Социал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и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з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а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ц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и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я</a:t>
            </a:r>
            <a:endParaRPr lang="en-US" sz="1200" noProof="1">
              <a:latin typeface="+mj-lt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pic>
        <p:nvPicPr>
          <p:cNvPr id="16" name="Рисунок 15">
            <a:extLst>
              <a:ext uri="{FF2B5EF4-FFF2-40B4-BE49-F238E27FC236}">
                <a16:creationId xmlns="" xmlns:a16="http://schemas.microsoft.com/office/drawing/2014/main" id="{2EEFE0A3-159E-499B-BE92-7487EDA8005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20351" y="6439845"/>
            <a:ext cx="1035642" cy="284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687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ound Same Side Corner Rectangle 21"/>
          <p:cNvSpPr/>
          <p:nvPr/>
        </p:nvSpPr>
        <p:spPr>
          <a:xfrm>
            <a:off x="533400" y="1423888"/>
            <a:ext cx="11125200" cy="4775200"/>
          </a:xfrm>
          <a:prstGeom prst="round2SameRect">
            <a:avLst>
              <a:gd name="adj1" fmla="val 0"/>
              <a:gd name="adj2" fmla="val 0"/>
            </a:avLst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>
                  <a:lumMod val="85000"/>
                  <a:alpha val="52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  <a:effectLst>
            <a:outerShdw blurRad="50800" dist="38100" dir="5400000" algn="t" rotWithShape="0">
              <a:prstClr val="black">
                <a:alpha val="11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Рисунок 5">
            <a:extLst>
              <a:ext uri="{FF2B5EF4-FFF2-40B4-BE49-F238E27FC236}">
                <a16:creationId xmlns="" xmlns:a16="http://schemas.microsoft.com/office/drawing/2014/main" id="{C7DE20D8-906C-4152-A2D1-1B9ED822E336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7451" y="1549400"/>
            <a:ext cx="3867150" cy="2578100"/>
          </a:xfrm>
          <a:solidFill>
            <a:schemeClr val="bg1">
              <a:lumMod val="8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pic>
      <p:pic>
        <p:nvPicPr>
          <p:cNvPr id="8" name="Рисунок 7">
            <a:extLst>
              <a:ext uri="{FF2B5EF4-FFF2-40B4-BE49-F238E27FC236}">
                <a16:creationId xmlns="" xmlns:a16="http://schemas.microsoft.com/office/drawing/2014/main" id="{F8467CF9-9FE8-430D-9EBD-E11E652CE752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22892" y="1549400"/>
            <a:ext cx="3866542" cy="2578100"/>
          </a:xfrm>
          <a:solidFill>
            <a:schemeClr val="bg1">
              <a:lumMod val="85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1CA209-181F-46EF-9285-755E64EE8A8B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19" name="Rectangle 18"/>
          <p:cNvSpPr/>
          <p:nvPr/>
        </p:nvSpPr>
        <p:spPr>
          <a:xfrm>
            <a:off x="749515" y="4794428"/>
            <a:ext cx="4883642" cy="14465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lnSpc>
                <a:spcPct val="150000"/>
              </a:lnSpc>
              <a:buClr>
                <a:schemeClr val="tx1">
                  <a:lumMod val="50000"/>
                  <a:lumOff val="50000"/>
                </a:schemeClr>
              </a:buClr>
              <a:buFont typeface="Arial" panose="020B0604020202020204" pitchFamily="34" charset="0"/>
              <a:buChar char="•"/>
              <a:defRPr/>
            </a:pPr>
            <a:r>
              <a:rPr lang="ru-RU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Используя IoT, физические производственные устройства становятся активной частью производственного процесса, и реальный мир производства своего рода изменится на информационную систему. управлению. </a:t>
            </a:r>
          </a:p>
          <a:p>
            <a:pPr marL="171450" indent="-171450">
              <a:lnSpc>
                <a:spcPct val="150000"/>
              </a:lnSpc>
              <a:buClr>
                <a:schemeClr val="tx1">
                  <a:lumMod val="50000"/>
                  <a:lumOff val="50000"/>
                </a:schemeClr>
              </a:buClr>
              <a:buFont typeface="Arial" panose="020B0604020202020204" pitchFamily="34" charset="0"/>
              <a:buChar char="•"/>
              <a:defRPr/>
            </a:pPr>
            <a:endParaRPr lang="en-US" sz="1200" noProof="1">
              <a:latin typeface="+mj-lt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2967171" y="224017"/>
            <a:ext cx="625765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  <a:buClr>
                <a:srgbClr val="E24848"/>
              </a:buClr>
              <a:defRPr/>
            </a:pPr>
            <a:r>
              <a:rPr lang="ru-RU" sz="3200" b="1" noProof="1"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ЧТО ЕСТЬ ЧТО?</a:t>
            </a:r>
            <a:endParaRPr lang="en-US" sz="3200" b="1" noProof="1">
              <a:latin typeface="Roboto Condensed" panose="02000000000000000000" pitchFamily="2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2967171" y="813206"/>
            <a:ext cx="645905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  <a:buClr>
                <a:srgbClr val="E24848"/>
              </a:buClr>
              <a:defRPr/>
            </a:pPr>
            <a:r>
              <a:rPr lang="ru-RU" dirty="0"/>
              <a:t>Промышленный интернет вещей, облачный сервис</a:t>
            </a:r>
          </a:p>
        </p:txBody>
      </p:sp>
      <p:sp>
        <p:nvSpPr>
          <p:cNvPr id="23" name="Rectangle 22"/>
          <p:cNvSpPr/>
          <p:nvPr/>
        </p:nvSpPr>
        <p:spPr>
          <a:xfrm>
            <a:off x="825715" y="4331113"/>
            <a:ext cx="3251763" cy="406265"/>
          </a:xfrm>
          <a:prstGeom prst="rect">
            <a:avLst/>
          </a:prstGeom>
          <a:solidFill>
            <a:schemeClr val="accent6"/>
          </a:solidFill>
        </p:spPr>
        <p:txBody>
          <a:bodyPr wrap="square">
            <a:noAutofit/>
          </a:bodyPr>
          <a:lstStyle/>
          <a:p>
            <a:pPr>
              <a:spcBef>
                <a:spcPts val="600"/>
              </a:spcBef>
              <a:buClr>
                <a:srgbClr val="E24848"/>
              </a:buClr>
            </a:pPr>
            <a:r>
              <a:rPr lang="uk-UA" b="1" dirty="0">
                <a:solidFill>
                  <a:schemeClr val="bg1"/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И</a:t>
            </a:r>
            <a:r>
              <a:rPr lang="x-none" b="1" dirty="0">
                <a:solidFill>
                  <a:schemeClr val="bg1"/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н</a:t>
            </a:r>
            <a:r>
              <a:rPr lang="uk-UA" b="1" dirty="0">
                <a:solidFill>
                  <a:schemeClr val="bg1"/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т</a:t>
            </a:r>
            <a:r>
              <a:rPr lang="x-none" b="1" dirty="0">
                <a:solidFill>
                  <a:schemeClr val="bg1"/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е</a:t>
            </a:r>
            <a:r>
              <a:rPr lang="uk-UA" b="1" dirty="0">
                <a:solidFill>
                  <a:schemeClr val="bg1"/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р</a:t>
            </a:r>
            <a:r>
              <a:rPr lang="x-none" b="1" dirty="0">
                <a:solidFill>
                  <a:schemeClr val="bg1"/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нет вещей</a:t>
            </a:r>
            <a:endParaRPr lang="en-US" b="1" dirty="0">
              <a:solidFill>
                <a:schemeClr val="bg1"/>
              </a:solidFill>
              <a:latin typeface="Roboto Condensed" panose="02000000000000000000" pitchFamily="2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6606609" y="4331113"/>
            <a:ext cx="3251763" cy="406265"/>
          </a:xfrm>
          <a:prstGeom prst="rect">
            <a:avLst/>
          </a:prstGeom>
          <a:solidFill>
            <a:schemeClr val="accent6"/>
          </a:solidFill>
        </p:spPr>
        <p:txBody>
          <a:bodyPr wrap="square">
            <a:noAutofit/>
          </a:bodyPr>
          <a:lstStyle/>
          <a:p>
            <a:pPr>
              <a:spcBef>
                <a:spcPts val="600"/>
              </a:spcBef>
              <a:buClr>
                <a:srgbClr val="E24848"/>
              </a:buClr>
            </a:pPr>
            <a:r>
              <a:rPr lang="uk-UA" b="1" dirty="0">
                <a:solidFill>
                  <a:schemeClr val="bg1"/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О</a:t>
            </a:r>
            <a:r>
              <a:rPr lang="x-none" b="1" dirty="0">
                <a:solidFill>
                  <a:schemeClr val="bg1"/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б</a:t>
            </a:r>
            <a:r>
              <a:rPr lang="uk-UA" b="1" dirty="0">
                <a:solidFill>
                  <a:schemeClr val="bg1"/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л</a:t>
            </a:r>
            <a:r>
              <a:rPr lang="x-none" b="1" dirty="0">
                <a:solidFill>
                  <a:schemeClr val="bg1"/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а</a:t>
            </a:r>
            <a:r>
              <a:rPr lang="uk-UA" b="1" dirty="0">
                <a:solidFill>
                  <a:schemeClr val="bg1"/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ч</a:t>
            </a:r>
            <a:r>
              <a:rPr lang="x-none" b="1" dirty="0">
                <a:solidFill>
                  <a:schemeClr val="bg1"/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н</a:t>
            </a:r>
            <a:r>
              <a:rPr lang="uk-UA" b="1" dirty="0">
                <a:solidFill>
                  <a:schemeClr val="bg1"/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ы</a:t>
            </a:r>
            <a:r>
              <a:rPr lang="x-none" b="1" dirty="0">
                <a:solidFill>
                  <a:schemeClr val="bg1"/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й </a:t>
            </a:r>
            <a:r>
              <a:rPr lang="uk-UA" b="1" dirty="0">
                <a:solidFill>
                  <a:schemeClr val="bg1"/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с</a:t>
            </a:r>
            <a:r>
              <a:rPr lang="x-none" b="1" dirty="0">
                <a:solidFill>
                  <a:schemeClr val="bg1"/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е</a:t>
            </a:r>
            <a:r>
              <a:rPr lang="uk-UA" b="1" dirty="0">
                <a:solidFill>
                  <a:schemeClr val="bg1"/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р</a:t>
            </a:r>
            <a:r>
              <a:rPr lang="x-none" b="1" dirty="0">
                <a:solidFill>
                  <a:schemeClr val="bg1"/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</a:t>
            </a:r>
            <a:r>
              <a:rPr lang="uk-UA" b="1" dirty="0">
                <a:solidFill>
                  <a:schemeClr val="bg1"/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и</a:t>
            </a:r>
            <a:r>
              <a:rPr lang="x-none" b="1" dirty="0">
                <a:solidFill>
                  <a:schemeClr val="bg1"/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с</a:t>
            </a:r>
            <a:endParaRPr lang="en-US" b="1" dirty="0">
              <a:solidFill>
                <a:schemeClr val="bg1"/>
              </a:solidFill>
              <a:latin typeface="Roboto Condensed" panose="02000000000000000000" pitchFamily="2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6594135" y="4794428"/>
            <a:ext cx="4883642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lnSpc>
                <a:spcPct val="150000"/>
              </a:lnSpc>
              <a:buClr>
                <a:schemeClr val="tx1">
                  <a:lumMod val="50000"/>
                  <a:lumOff val="50000"/>
                </a:schemeClr>
              </a:buClr>
              <a:buFont typeface="Arial" panose="020B0604020202020204" pitchFamily="34" charset="0"/>
              <a:buChar char="•"/>
              <a:defRPr/>
            </a:pPr>
            <a:r>
              <a:rPr lang="ru-RU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Облако обеспечивает масштабируемое хранилище для огромного количества данных, предоставляемых сенсорными узлами, а также аналитические инструменты, необходимые пользователям, чтобы понять все эти данные. </a:t>
            </a:r>
          </a:p>
        </p:txBody>
      </p:sp>
      <p:pic>
        <p:nvPicPr>
          <p:cNvPr id="12" name="Рисунок 11">
            <a:extLst>
              <a:ext uri="{FF2B5EF4-FFF2-40B4-BE49-F238E27FC236}">
                <a16:creationId xmlns="" xmlns:a16="http://schemas.microsoft.com/office/drawing/2014/main" id="{27A34E12-6953-4FB5-8846-FCA442B3787B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20351" y="6439845"/>
            <a:ext cx="1035642" cy="284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111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ounded Rectangle 28"/>
          <p:cNvSpPr/>
          <p:nvPr/>
        </p:nvSpPr>
        <p:spPr>
          <a:xfrm>
            <a:off x="969706" y="1700449"/>
            <a:ext cx="3277062" cy="2835905"/>
          </a:xfrm>
          <a:prstGeom prst="roundRect">
            <a:avLst>
              <a:gd name="adj" fmla="val 0"/>
            </a:avLst>
          </a:prstGeom>
          <a:gradFill flip="none" rotWithShape="1">
            <a:gsLst>
              <a:gs pos="100000">
                <a:schemeClr val="bg1">
                  <a:lumMod val="95000"/>
                </a:schemeClr>
              </a:gs>
              <a:gs pos="0">
                <a:schemeClr val="bg1">
                  <a:lumMod val="85000"/>
                  <a:alpha val="52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solidFill>
              <a:schemeClr val="bg1">
                <a:lumMod val="75000"/>
              </a:schemeClr>
            </a:solidFill>
          </a:ln>
          <a:effectLst>
            <a:outerShdw blurRad="38100" dist="38100" dir="2700000" algn="tl" rotWithShape="0">
              <a:prstClr val="black">
                <a:alpha val="19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ounded Rectangle 11"/>
          <p:cNvSpPr/>
          <p:nvPr/>
        </p:nvSpPr>
        <p:spPr>
          <a:xfrm>
            <a:off x="4457469" y="1700449"/>
            <a:ext cx="3277062" cy="2835905"/>
          </a:xfrm>
          <a:prstGeom prst="roundRect">
            <a:avLst>
              <a:gd name="adj" fmla="val 0"/>
            </a:avLst>
          </a:prstGeom>
          <a:gradFill flip="none" rotWithShape="1">
            <a:gsLst>
              <a:gs pos="100000">
                <a:schemeClr val="bg1">
                  <a:lumMod val="95000"/>
                </a:schemeClr>
              </a:gs>
              <a:gs pos="0">
                <a:schemeClr val="bg1">
                  <a:lumMod val="85000"/>
                  <a:alpha val="52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solidFill>
              <a:schemeClr val="bg1">
                <a:lumMod val="75000"/>
              </a:schemeClr>
            </a:solidFill>
          </a:ln>
          <a:effectLst>
            <a:outerShdw blurRad="38100" dist="38100" dir="2700000" algn="tl" rotWithShape="0">
              <a:prstClr val="black">
                <a:alpha val="19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ounded Rectangle 16"/>
          <p:cNvSpPr/>
          <p:nvPr/>
        </p:nvSpPr>
        <p:spPr>
          <a:xfrm>
            <a:off x="7945232" y="1700449"/>
            <a:ext cx="3277062" cy="2835905"/>
          </a:xfrm>
          <a:prstGeom prst="roundRect">
            <a:avLst>
              <a:gd name="adj" fmla="val 0"/>
            </a:avLst>
          </a:prstGeom>
          <a:gradFill flip="none" rotWithShape="1">
            <a:gsLst>
              <a:gs pos="100000">
                <a:schemeClr val="bg1">
                  <a:lumMod val="95000"/>
                </a:schemeClr>
              </a:gs>
              <a:gs pos="0">
                <a:schemeClr val="bg1">
                  <a:lumMod val="85000"/>
                  <a:alpha val="52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solidFill>
              <a:schemeClr val="bg1">
                <a:lumMod val="75000"/>
              </a:schemeClr>
            </a:solidFill>
          </a:ln>
          <a:effectLst>
            <a:outerShdw blurRad="38100" dist="38100" dir="2700000" algn="tl" rotWithShape="0">
              <a:prstClr val="black">
                <a:alpha val="19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1CA209-181F-46EF-9285-755E64EE8A8B}" type="slidenum">
              <a:rPr lang="en-US" smtClean="0"/>
              <a:pPr/>
              <a:t>5</a:t>
            </a:fld>
            <a:endParaRPr lang="en-US" dirty="0"/>
          </a:p>
        </p:txBody>
      </p:sp>
      <p:pic>
        <p:nvPicPr>
          <p:cNvPr id="7" name="Рисунок 6">
            <a:extLst>
              <a:ext uri="{FF2B5EF4-FFF2-40B4-BE49-F238E27FC236}">
                <a16:creationId xmlns="" xmlns:a16="http://schemas.microsoft.com/office/drawing/2014/main" id="{18A7508B-FEBC-4E01-B95B-821D8B2B6570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212" b="7212"/>
          <a:stretch>
            <a:fillRect/>
          </a:stretch>
        </p:blipFill>
        <p:spPr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pic>
      <p:pic>
        <p:nvPicPr>
          <p:cNvPr id="9" name="Рисунок 8">
            <a:extLst>
              <a:ext uri="{FF2B5EF4-FFF2-40B4-BE49-F238E27FC236}">
                <a16:creationId xmlns="" xmlns:a16="http://schemas.microsoft.com/office/drawing/2014/main" id="{DC5B273A-CAE8-42E1-B3BD-A7F2CFFAA6AF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69" r="6269"/>
          <a:stretch>
            <a:fillRect/>
          </a:stretch>
        </p:blipFill>
        <p:spPr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pic>
      <p:pic>
        <p:nvPicPr>
          <p:cNvPr id="11" name="Рисунок 10">
            <a:extLst>
              <a:ext uri="{FF2B5EF4-FFF2-40B4-BE49-F238E27FC236}">
                <a16:creationId xmlns="" xmlns:a16="http://schemas.microsoft.com/office/drawing/2014/main" id="{E168EF7C-B1AD-4926-B1C5-E8D337E8B4BC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06" r="20206"/>
          <a:stretch>
            <a:fillRect/>
          </a:stretch>
        </p:blipFill>
        <p:spPr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pic>
      <p:sp>
        <p:nvSpPr>
          <p:cNvPr id="18" name="Rectangle 17"/>
          <p:cNvSpPr/>
          <p:nvPr/>
        </p:nvSpPr>
        <p:spPr>
          <a:xfrm>
            <a:off x="2967172" y="356920"/>
            <a:ext cx="625765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  <a:buClr>
                <a:srgbClr val="E24848"/>
              </a:buClr>
              <a:defRPr/>
            </a:pPr>
            <a:r>
              <a:rPr lang="x-none" sz="3200" b="1" noProof="1"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ПРОДУКЦИЯ</a:t>
            </a:r>
            <a:r>
              <a:rPr lang="en-US" sz="3200" b="1" noProof="1">
                <a:solidFill>
                  <a:schemeClr val="tx1">
                    <a:lumMod val="50000"/>
                    <a:lumOff val="50000"/>
                  </a:schemeClr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3200" b="1" noProof="1">
                <a:solidFill>
                  <a:schemeClr val="accent6">
                    <a:lumMod val="75000"/>
                  </a:schemeClr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ADVANTECH</a:t>
            </a:r>
          </a:p>
        </p:txBody>
      </p:sp>
      <p:sp>
        <p:nvSpPr>
          <p:cNvPr id="19" name="Rectangle 18"/>
          <p:cNvSpPr/>
          <p:nvPr/>
        </p:nvSpPr>
        <p:spPr>
          <a:xfrm>
            <a:off x="3335631" y="816834"/>
            <a:ext cx="552073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  <a:buClr>
                <a:srgbClr val="E24848"/>
              </a:buClr>
              <a:defRPr/>
            </a:pPr>
            <a:r>
              <a:rPr lang="x-none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А</a:t>
            </a:r>
            <a:r>
              <a:rPr lang="uk-UA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п</a:t>
            </a:r>
            <a:r>
              <a:rPr lang="x-none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п</a:t>
            </a:r>
            <a:r>
              <a:rPr lang="uk-UA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а</a:t>
            </a:r>
            <a:r>
              <a:rPr lang="x-none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р</a:t>
            </a:r>
            <a:r>
              <a:rPr lang="uk-UA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атн</a:t>
            </a:r>
            <a:r>
              <a:rPr lang="x-none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ы</a:t>
            </a:r>
            <a:r>
              <a:rPr lang="uk-UA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й</a:t>
            </a:r>
            <a:r>
              <a:rPr lang="x-none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uk-UA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фундамент пром</a:t>
            </a:r>
            <a:r>
              <a:rPr lang="x-none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ы</a:t>
            </a:r>
            <a:r>
              <a:rPr lang="uk-UA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шленной автомати</a:t>
            </a:r>
            <a:r>
              <a:rPr lang="x-none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зации</a:t>
            </a:r>
            <a:endParaRPr lang="pt-BR" sz="1400" noProof="1">
              <a:latin typeface="+mj-lt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969706" y="4629699"/>
            <a:ext cx="296717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buClr>
                <a:srgbClr val="E24848"/>
              </a:buClr>
              <a:defRPr/>
            </a:pPr>
            <a:r>
              <a:rPr lang="uk-UA" b="1" noProof="1"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П</a:t>
            </a:r>
            <a:r>
              <a:rPr lang="x-none" b="1" noProof="1"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р</a:t>
            </a:r>
            <a:r>
              <a:rPr lang="uk-UA" b="1" noProof="1"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е</a:t>
            </a:r>
            <a:r>
              <a:rPr lang="x-none" b="1" noProof="1"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о</a:t>
            </a:r>
            <a:r>
              <a:rPr lang="uk-UA" b="1" noProof="1"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бр</a:t>
            </a:r>
            <a:r>
              <a:rPr lang="x-none" b="1" noProof="1"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а</a:t>
            </a:r>
            <a:r>
              <a:rPr lang="uk-UA" b="1" noProof="1"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з</a:t>
            </a:r>
            <a:r>
              <a:rPr lang="x-none" b="1" noProof="1"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о</a:t>
            </a:r>
            <a:r>
              <a:rPr lang="uk-UA" b="1" noProof="1"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</a:t>
            </a:r>
            <a:r>
              <a:rPr lang="x-none" b="1" noProof="1"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а</a:t>
            </a:r>
            <a:r>
              <a:rPr lang="uk-UA" b="1" noProof="1"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т</a:t>
            </a:r>
            <a:r>
              <a:rPr lang="x-none" b="1" noProof="1"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е</a:t>
            </a:r>
            <a:r>
              <a:rPr lang="uk-UA" b="1" noProof="1"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л</a:t>
            </a:r>
            <a:r>
              <a:rPr lang="x-none" b="1" noProof="1"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и</a:t>
            </a:r>
            <a:endParaRPr lang="en-US" b="1" noProof="1">
              <a:latin typeface="Roboto Condensed" panose="02000000000000000000" pitchFamily="2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969707" y="4999031"/>
            <a:ext cx="327706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algn="just">
              <a:buClr>
                <a:srgbClr val="E24848"/>
              </a:buClr>
              <a:buFont typeface="Arial" panose="020B0604020202020204" pitchFamily="34" charset="0"/>
              <a:buChar char="•"/>
              <a:defRPr/>
            </a:pP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М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о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дули </a:t>
            </a:r>
            <a:r>
              <a:rPr lang="en-US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ADAM 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и </a:t>
            </a:r>
            <a:r>
              <a:rPr lang="en-US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WISE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с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п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р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о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в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о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д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н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ы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м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и 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и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б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е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с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п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р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о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в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о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д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н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ы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м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и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 интерфейсами</a:t>
            </a:r>
          </a:p>
          <a:p>
            <a:pPr marL="171450" indent="-171450" algn="just">
              <a:buClr>
                <a:srgbClr val="E24848"/>
              </a:buClr>
              <a:buFont typeface="Arial" panose="020B0604020202020204" pitchFamily="34" charset="0"/>
              <a:buChar char="•"/>
              <a:defRPr/>
            </a:pP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Проток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о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лы 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о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б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м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е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н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а </a:t>
            </a:r>
            <a:r>
              <a:rPr lang="en-US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MODBUS 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и</a:t>
            </a:r>
            <a:r>
              <a:rPr lang="en-US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 MQTT</a:t>
            </a:r>
          </a:p>
        </p:txBody>
      </p:sp>
      <p:sp>
        <p:nvSpPr>
          <p:cNvPr id="28" name="Rectangle 27"/>
          <p:cNvSpPr/>
          <p:nvPr/>
        </p:nvSpPr>
        <p:spPr>
          <a:xfrm>
            <a:off x="4457468" y="4629699"/>
            <a:ext cx="296717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buClr>
                <a:srgbClr val="E24848"/>
              </a:buClr>
              <a:defRPr/>
            </a:pPr>
            <a:r>
              <a:rPr lang="x-none" b="1" noProof="1"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К</a:t>
            </a:r>
            <a:r>
              <a:rPr lang="uk-UA" b="1" noProof="1"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о</a:t>
            </a:r>
            <a:r>
              <a:rPr lang="x-none" b="1" noProof="1"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м</a:t>
            </a:r>
            <a:r>
              <a:rPr lang="uk-UA" b="1" noProof="1"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м</a:t>
            </a:r>
            <a:r>
              <a:rPr lang="x-none" b="1" noProof="1"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у</a:t>
            </a:r>
            <a:r>
              <a:rPr lang="uk-UA" b="1" noProof="1"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н</a:t>
            </a:r>
            <a:r>
              <a:rPr lang="x-none" b="1" noProof="1"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и</a:t>
            </a:r>
            <a:r>
              <a:rPr lang="uk-UA" b="1" noProof="1"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к</a:t>
            </a:r>
            <a:r>
              <a:rPr lang="x-none" b="1" noProof="1"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а</a:t>
            </a:r>
            <a:r>
              <a:rPr lang="uk-UA" b="1" noProof="1"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ц</a:t>
            </a:r>
            <a:r>
              <a:rPr lang="x-none" b="1" noProof="1"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и</a:t>
            </a:r>
            <a:r>
              <a:rPr lang="uk-UA" b="1" noProof="1"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и</a:t>
            </a:r>
            <a:endParaRPr lang="en-US" b="1" noProof="1">
              <a:latin typeface="Roboto Condensed" panose="02000000000000000000" pitchFamily="2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4457469" y="4999031"/>
            <a:ext cx="348776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algn="just">
              <a:buClr>
                <a:srgbClr val="E24848"/>
              </a:buClr>
              <a:buFont typeface="Arial" panose="020B0604020202020204" pitchFamily="34" charset="0"/>
              <a:buChar char="•"/>
              <a:defRPr/>
            </a:pP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П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р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о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в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о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д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н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ы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е и беспроводные коммункации</a:t>
            </a:r>
          </a:p>
          <a:p>
            <a:pPr marL="171450" indent="-171450" algn="just">
              <a:buClr>
                <a:srgbClr val="E24848"/>
              </a:buClr>
              <a:buFont typeface="Arial" panose="020B0604020202020204" pitchFamily="34" charset="0"/>
              <a:buChar char="•"/>
              <a:defRPr/>
            </a:pP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Шлюзы </a:t>
            </a:r>
            <a:r>
              <a:rPr lang="en-US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IIoT</a:t>
            </a:r>
          </a:p>
        </p:txBody>
      </p:sp>
      <p:sp>
        <p:nvSpPr>
          <p:cNvPr id="31" name="Rectangle 30"/>
          <p:cNvSpPr/>
          <p:nvPr/>
        </p:nvSpPr>
        <p:spPr>
          <a:xfrm>
            <a:off x="7945229" y="4629699"/>
            <a:ext cx="296717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buClr>
                <a:srgbClr val="E24848"/>
              </a:buClr>
              <a:defRPr/>
            </a:pPr>
            <a:r>
              <a:rPr lang="x-none" b="1" noProof="1"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К</a:t>
            </a:r>
            <a:r>
              <a:rPr lang="uk-UA" b="1" noProof="1"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о</a:t>
            </a:r>
            <a:r>
              <a:rPr lang="x-none" b="1" noProof="1"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м</a:t>
            </a:r>
            <a:r>
              <a:rPr lang="uk-UA" b="1" noProof="1"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п</a:t>
            </a:r>
            <a:r>
              <a:rPr lang="x-none" b="1" noProof="1"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ь</a:t>
            </a:r>
            <a:r>
              <a:rPr lang="uk-UA" b="1" noProof="1"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ю</a:t>
            </a:r>
            <a:r>
              <a:rPr lang="x-none" b="1" noProof="1"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т</a:t>
            </a:r>
            <a:r>
              <a:rPr lang="uk-UA" b="1" noProof="1"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е</a:t>
            </a:r>
            <a:r>
              <a:rPr lang="x-none" b="1" noProof="1"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р</a:t>
            </a:r>
            <a:r>
              <a:rPr lang="uk-UA" b="1" noProof="1"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ы</a:t>
            </a:r>
            <a:endParaRPr lang="en-US" b="1" noProof="1">
              <a:latin typeface="Roboto Condensed" panose="02000000000000000000" pitchFamily="2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7945230" y="4999031"/>
            <a:ext cx="327706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algn="just">
              <a:buClr>
                <a:srgbClr val="E24848"/>
              </a:buClr>
              <a:buFont typeface="Arial" panose="020B0604020202020204" pitchFamily="34" charset="0"/>
              <a:buChar char="•"/>
              <a:defRPr/>
            </a:pP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К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о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м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п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ь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ю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т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е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р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ы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д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л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я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о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бработки и хр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а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нения</a:t>
            </a:r>
          </a:p>
          <a:p>
            <a:pPr marL="171450" indent="-171450" algn="just">
              <a:buClr>
                <a:srgbClr val="E24848"/>
              </a:buClr>
              <a:buFont typeface="Arial" panose="020B0604020202020204" pitchFamily="34" charset="0"/>
              <a:buChar char="•"/>
              <a:defRPr/>
            </a:pP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С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р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е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д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с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т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в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а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о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т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о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б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р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а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ж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е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н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и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я</a:t>
            </a:r>
            <a:endParaRPr lang="en-US" sz="1200" noProof="1">
              <a:latin typeface="+mj-lt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pic>
        <p:nvPicPr>
          <p:cNvPr id="23" name="Рисунок 22">
            <a:extLst>
              <a:ext uri="{FF2B5EF4-FFF2-40B4-BE49-F238E27FC236}">
                <a16:creationId xmlns="" xmlns:a16="http://schemas.microsoft.com/office/drawing/2014/main" id="{8105FBB2-CC66-4CFB-97D1-B75ADE8B522A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20351" y="6439845"/>
            <a:ext cx="1035642" cy="284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92287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>
            <a:extLst>
              <a:ext uri="{FF2B5EF4-FFF2-40B4-BE49-F238E27FC236}">
                <a16:creationId xmlns="" xmlns:a16="http://schemas.microsoft.com/office/drawing/2014/main" id="{33FF2C60-AA51-4F95-83B6-472D8067CED5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72" r="1872"/>
          <a:stretch>
            <a:fillRect/>
          </a:stretch>
        </p:blipFill>
        <p:spPr/>
      </p:pic>
      <p:pic>
        <p:nvPicPr>
          <p:cNvPr id="18" name="Рисунок 17">
            <a:extLst>
              <a:ext uri="{FF2B5EF4-FFF2-40B4-BE49-F238E27FC236}">
                <a16:creationId xmlns="" xmlns:a16="http://schemas.microsoft.com/office/drawing/2014/main" id="{2B38AF3D-36A6-4117-923D-D2D06164C4CE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837" t="-661" r="72445" b="661"/>
          <a:stretch/>
        </p:blipFill>
        <p:spPr>
          <a:xfrm>
            <a:off x="0" y="1554381"/>
            <a:ext cx="1142999" cy="4557158"/>
          </a:xfrm>
        </p:spPr>
      </p:pic>
      <p:pic>
        <p:nvPicPr>
          <p:cNvPr id="16" name="Рисунок 15">
            <a:extLst>
              <a:ext uri="{FF2B5EF4-FFF2-40B4-BE49-F238E27FC236}">
                <a16:creationId xmlns="" xmlns:a16="http://schemas.microsoft.com/office/drawing/2014/main" id="{4548BCA4-44A4-46EC-9AB3-D5FF8D176772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38" r="15038"/>
          <a:stretch>
            <a:fillRect/>
          </a:stretch>
        </p:blipFill>
        <p:spPr/>
      </p:pic>
      <p:pic>
        <p:nvPicPr>
          <p:cNvPr id="14" name="Рисунок 13">
            <a:extLst>
              <a:ext uri="{FF2B5EF4-FFF2-40B4-BE49-F238E27FC236}">
                <a16:creationId xmlns="" xmlns:a16="http://schemas.microsoft.com/office/drawing/2014/main" id="{B8CC4319-35C6-411E-B32C-0DF31D28CAE3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500" r="14500"/>
          <a:stretch>
            <a:fillRect/>
          </a:stretch>
        </p:blipFill>
        <p:spPr/>
      </p:pic>
      <p:sp>
        <p:nvSpPr>
          <p:cNvPr id="11" name="Rectangle 17">
            <a:extLst>
              <a:ext uri="{FF2B5EF4-FFF2-40B4-BE49-F238E27FC236}">
                <a16:creationId xmlns="" xmlns:a16="http://schemas.microsoft.com/office/drawing/2014/main" id="{36E205C3-33FC-41E2-92DF-CC2898EF94B0}"/>
              </a:ext>
            </a:extLst>
          </p:cNvPr>
          <p:cNvSpPr/>
          <p:nvPr/>
        </p:nvSpPr>
        <p:spPr>
          <a:xfrm>
            <a:off x="2967172" y="356920"/>
            <a:ext cx="625765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  <a:buClr>
                <a:srgbClr val="E24848"/>
              </a:buClr>
              <a:defRPr/>
            </a:pPr>
            <a:r>
              <a:rPr lang="uk-UA" sz="3200" b="1" noProof="1"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ТРЕБУЕМ</a:t>
            </a:r>
            <a:r>
              <a:rPr lang="uk-UA" sz="3200" b="1" noProof="1">
                <a:solidFill>
                  <a:schemeClr val="accent6"/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uk-UA" sz="3200" b="1" noProof="1">
                <a:solidFill>
                  <a:schemeClr val="accent6">
                    <a:lumMod val="75000"/>
                  </a:schemeClr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ОБЩЕНИЯ</a:t>
            </a:r>
            <a:r>
              <a:rPr lang="uk-UA" sz="3200" b="1" noProof="1">
                <a:solidFill>
                  <a:schemeClr val="accent6"/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!</a:t>
            </a:r>
            <a:endParaRPr lang="en-US" sz="3200" b="1" noProof="1">
              <a:solidFill>
                <a:schemeClr val="accent6"/>
              </a:solidFill>
              <a:latin typeface="Roboto Condensed" panose="02000000000000000000" pitchFamily="2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12" name="Rectangle 18">
            <a:extLst>
              <a:ext uri="{FF2B5EF4-FFF2-40B4-BE49-F238E27FC236}">
                <a16:creationId xmlns="" xmlns:a16="http://schemas.microsoft.com/office/drawing/2014/main" id="{B6B5B2CA-A71B-4CF6-8B47-524C4D40AF41}"/>
              </a:ext>
            </a:extLst>
          </p:cNvPr>
          <p:cNvSpPr/>
          <p:nvPr/>
        </p:nvSpPr>
        <p:spPr>
          <a:xfrm>
            <a:off x="2235200" y="816834"/>
            <a:ext cx="75184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  <a:buClr>
                <a:srgbClr val="E24848"/>
              </a:buClr>
              <a:defRPr/>
            </a:pPr>
            <a:r>
              <a:rPr lang="ru-RU" sz="1400" noProof="1">
                <a:solidFill>
                  <a:schemeClr val="tx2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Существующие программные решения не имеют необходимого уровня коммуникаций</a:t>
            </a:r>
            <a:endParaRPr lang="pt-BR" sz="1400" noProof="1">
              <a:solidFill>
                <a:schemeClr val="tx2"/>
              </a:solidFill>
              <a:latin typeface="+mj-lt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19" name="Slide Number Placeholder 1">
            <a:extLst>
              <a:ext uri="{FF2B5EF4-FFF2-40B4-BE49-F238E27FC236}">
                <a16:creationId xmlns="" xmlns:a16="http://schemas.microsoft.com/office/drawing/2014/main" id="{4A69DE5D-60AB-46A9-B825-C4CDDD49B6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90251" y="6449369"/>
            <a:ext cx="415999" cy="249385"/>
          </a:xfrm>
        </p:spPr>
        <p:txBody>
          <a:bodyPr/>
          <a:lstStyle/>
          <a:p>
            <a:fld id="{DB1CA209-181F-46EF-9285-755E64EE8A8B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20" name="Рисунок 19">
            <a:extLst>
              <a:ext uri="{FF2B5EF4-FFF2-40B4-BE49-F238E27FC236}">
                <a16:creationId xmlns="" xmlns:a16="http://schemas.microsoft.com/office/drawing/2014/main" id="{439DDF45-9A78-4599-9590-4FEC1AB22E95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20351" y="6439845"/>
            <a:ext cx="1035642" cy="284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407678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ounded Rectangle 28"/>
          <p:cNvSpPr/>
          <p:nvPr/>
        </p:nvSpPr>
        <p:spPr>
          <a:xfrm>
            <a:off x="1971497" y="1533725"/>
            <a:ext cx="4039984" cy="3496123"/>
          </a:xfrm>
          <a:prstGeom prst="roundRect">
            <a:avLst>
              <a:gd name="adj" fmla="val 0"/>
            </a:avLst>
          </a:prstGeom>
          <a:gradFill flip="none" rotWithShape="1">
            <a:gsLst>
              <a:gs pos="100000">
                <a:schemeClr val="bg1">
                  <a:lumMod val="95000"/>
                </a:schemeClr>
              </a:gs>
              <a:gs pos="0">
                <a:schemeClr val="bg1">
                  <a:lumMod val="85000"/>
                  <a:alpha val="52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solidFill>
              <a:schemeClr val="bg1">
                <a:lumMod val="75000"/>
              </a:schemeClr>
            </a:solidFill>
          </a:ln>
          <a:effectLst>
            <a:outerShdw blurRad="38100" dist="38100" dir="2700000" algn="tl" rotWithShape="0">
              <a:prstClr val="black">
                <a:alpha val="19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ounded Rectangle 11"/>
          <p:cNvSpPr/>
          <p:nvPr/>
        </p:nvSpPr>
        <p:spPr>
          <a:xfrm>
            <a:off x="6180519" y="1533725"/>
            <a:ext cx="4039984" cy="3496123"/>
          </a:xfrm>
          <a:prstGeom prst="roundRect">
            <a:avLst>
              <a:gd name="adj" fmla="val 0"/>
            </a:avLst>
          </a:prstGeom>
          <a:gradFill flip="none" rotWithShape="1">
            <a:gsLst>
              <a:gs pos="100000">
                <a:schemeClr val="bg1">
                  <a:lumMod val="95000"/>
                </a:schemeClr>
              </a:gs>
              <a:gs pos="0">
                <a:schemeClr val="bg1">
                  <a:lumMod val="85000"/>
                  <a:alpha val="52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solidFill>
              <a:schemeClr val="bg1">
                <a:lumMod val="75000"/>
              </a:schemeClr>
            </a:solidFill>
          </a:ln>
          <a:effectLst>
            <a:outerShdw blurRad="38100" dist="38100" dir="2700000" algn="tl" rotWithShape="0">
              <a:prstClr val="black">
                <a:alpha val="19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Рисунок 3">
            <a:extLst>
              <a:ext uri="{FF2B5EF4-FFF2-40B4-BE49-F238E27FC236}">
                <a16:creationId xmlns="" xmlns:a16="http://schemas.microsoft.com/office/drawing/2014/main" id="{86556EA7-0589-4CA9-B923-B9E698FD0D01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192" r="11192"/>
          <a:stretch>
            <a:fillRect/>
          </a:stretch>
        </p:blipFill>
        <p:spPr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pic>
      <p:pic>
        <p:nvPicPr>
          <p:cNvPr id="8" name="Рисунок 7">
            <a:extLst>
              <a:ext uri="{FF2B5EF4-FFF2-40B4-BE49-F238E27FC236}">
                <a16:creationId xmlns="" xmlns:a16="http://schemas.microsoft.com/office/drawing/2014/main" id="{237D96A6-7E22-4D00-A5EC-CEA817DA0D58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04" r="11004"/>
          <a:stretch>
            <a:fillRect/>
          </a:stretch>
        </p:blipFill>
        <p:spPr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pic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1CA209-181F-46EF-9285-755E64EE8A8B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18" name="Rectangle 17"/>
          <p:cNvSpPr/>
          <p:nvPr/>
        </p:nvSpPr>
        <p:spPr>
          <a:xfrm>
            <a:off x="2967172" y="356920"/>
            <a:ext cx="625765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  <a:buClr>
                <a:srgbClr val="E24848"/>
              </a:buClr>
              <a:defRPr/>
            </a:pPr>
            <a:r>
              <a:rPr lang="x-none" sz="3200" b="1" noProof="1"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Р</a:t>
            </a:r>
            <a:r>
              <a:rPr lang="uk-UA" sz="3200" b="1" noProof="1"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А</a:t>
            </a:r>
            <a:r>
              <a:rPr lang="x-none" sz="3200" b="1" noProof="1"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З</a:t>
            </a:r>
            <a:r>
              <a:rPr lang="uk-UA" sz="3200" b="1" noProof="1"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Р</a:t>
            </a:r>
            <a:r>
              <a:rPr lang="x-none" sz="3200" b="1" noProof="1"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Ы</a:t>
            </a:r>
            <a:r>
              <a:rPr lang="uk-UA" sz="3200" b="1" noProof="1"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</a:t>
            </a:r>
            <a:r>
              <a:rPr lang="x-none" sz="3200" b="1" noProof="1"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3200" b="1" noProof="1">
                <a:solidFill>
                  <a:schemeClr val="accent6">
                    <a:lumMod val="75000"/>
                  </a:schemeClr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OT/IT</a:t>
            </a:r>
          </a:p>
        </p:txBody>
      </p:sp>
      <p:sp>
        <p:nvSpPr>
          <p:cNvPr id="19" name="Rectangle 18"/>
          <p:cNvSpPr/>
          <p:nvPr/>
        </p:nvSpPr>
        <p:spPr>
          <a:xfrm>
            <a:off x="2967172" y="816834"/>
            <a:ext cx="636873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  <a:buClr>
                <a:srgbClr val="E24848"/>
              </a:buClr>
              <a:defRPr/>
            </a:pPr>
            <a:r>
              <a:rPr lang="ru-RU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Пр</a:t>
            </a:r>
            <a:r>
              <a:rPr lang="x-none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е</a:t>
            </a:r>
            <a:r>
              <a:rPr lang="uk-UA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о</a:t>
            </a:r>
            <a:r>
              <a:rPr lang="x-none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д</a:t>
            </a:r>
            <a:r>
              <a:rPr lang="uk-UA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о</a:t>
            </a:r>
            <a:r>
              <a:rPr lang="x-none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л</a:t>
            </a:r>
            <a:r>
              <a:rPr lang="uk-UA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е</a:t>
            </a:r>
            <a:r>
              <a:rPr lang="x-none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н</a:t>
            </a:r>
            <a:r>
              <a:rPr lang="uk-UA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и</a:t>
            </a:r>
            <a:r>
              <a:rPr lang="x-none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е </a:t>
            </a:r>
            <a:r>
              <a:rPr lang="uk-UA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п</a:t>
            </a:r>
            <a:r>
              <a:rPr lang="x-none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р</a:t>
            </a:r>
            <a:r>
              <a:rPr lang="uk-UA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о</a:t>
            </a:r>
            <a:r>
              <a:rPr lang="x-none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т</a:t>
            </a:r>
            <a:r>
              <a:rPr lang="uk-UA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и</a:t>
            </a:r>
            <a:r>
              <a:rPr lang="x-none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в</a:t>
            </a:r>
            <a:r>
              <a:rPr lang="uk-UA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о</a:t>
            </a:r>
            <a:r>
              <a:rPr lang="x-none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р</a:t>
            </a:r>
            <a:r>
              <a:rPr lang="uk-UA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е</a:t>
            </a:r>
            <a:r>
              <a:rPr lang="x-none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ч</a:t>
            </a:r>
            <a:r>
              <a:rPr lang="uk-UA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и</a:t>
            </a:r>
            <a:r>
              <a:rPr lang="x-none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й </a:t>
            </a:r>
            <a:r>
              <a:rPr lang="uk-UA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и</a:t>
            </a:r>
            <a:r>
              <a:rPr lang="x-none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uk-UA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н</a:t>
            </a:r>
            <a:r>
              <a:rPr lang="x-none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е</a:t>
            </a:r>
            <a:r>
              <a:rPr lang="uk-UA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п</a:t>
            </a:r>
            <a:r>
              <a:rPr lang="x-none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о</a:t>
            </a:r>
            <a:r>
              <a:rPr lang="uk-UA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н</a:t>
            </a:r>
            <a:r>
              <a:rPr lang="x-none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и</a:t>
            </a:r>
            <a:r>
              <a:rPr lang="uk-UA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м</a:t>
            </a:r>
            <a:r>
              <a:rPr lang="x-none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а</a:t>
            </a:r>
            <a:r>
              <a:rPr lang="uk-UA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н</a:t>
            </a:r>
            <a:r>
              <a:rPr lang="x-none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и</a:t>
            </a:r>
            <a:r>
              <a:rPr lang="uk-UA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я</a:t>
            </a:r>
            <a:r>
              <a:rPr lang="x-none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uk-UA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н</a:t>
            </a:r>
            <a:r>
              <a:rPr lang="x-none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а </a:t>
            </a:r>
            <a:r>
              <a:rPr lang="uk-UA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п</a:t>
            </a:r>
            <a:r>
              <a:rPr lang="x-none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у</a:t>
            </a:r>
            <a:r>
              <a:rPr lang="uk-UA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т</a:t>
            </a:r>
            <a:r>
              <a:rPr lang="x-none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и к Индустрии 4.0</a:t>
            </a:r>
            <a:endParaRPr lang="pt-BR" sz="1400" noProof="1">
              <a:latin typeface="+mj-lt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2063362" y="5144924"/>
            <a:ext cx="394811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buClr>
                <a:srgbClr val="E24848"/>
              </a:buClr>
              <a:defRPr/>
            </a:pPr>
            <a:r>
              <a:rPr lang="x-none" b="1" noProof="1">
                <a:solidFill>
                  <a:schemeClr val="tx1">
                    <a:lumMod val="65000"/>
                    <a:lumOff val="35000"/>
                  </a:schemeClr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О</a:t>
            </a:r>
            <a:r>
              <a:rPr lang="uk-UA" b="1" noProof="1">
                <a:solidFill>
                  <a:schemeClr val="tx1">
                    <a:lumMod val="65000"/>
                    <a:lumOff val="35000"/>
                  </a:schemeClr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перационн</a:t>
            </a:r>
            <a:r>
              <a:rPr lang="x-none" b="1" noProof="1">
                <a:solidFill>
                  <a:schemeClr val="tx1">
                    <a:lumMod val="65000"/>
                    <a:lumOff val="35000"/>
                  </a:schemeClr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ы</a:t>
            </a:r>
            <a:r>
              <a:rPr lang="uk-UA" b="1" noProof="1">
                <a:solidFill>
                  <a:schemeClr val="tx1">
                    <a:lumMod val="65000"/>
                    <a:lumOff val="35000"/>
                  </a:schemeClr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е</a:t>
            </a:r>
            <a:r>
              <a:rPr lang="x-none" b="1" noProof="1">
                <a:solidFill>
                  <a:schemeClr val="tx1">
                    <a:lumMod val="65000"/>
                    <a:lumOff val="35000"/>
                  </a:schemeClr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uk-UA" b="1" noProof="1">
                <a:solidFill>
                  <a:schemeClr val="tx1">
                    <a:lumMod val="65000"/>
                    <a:lumOff val="35000"/>
                  </a:schemeClr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технологи</a:t>
            </a:r>
            <a:r>
              <a:rPr lang="x-none" b="1" noProof="1">
                <a:solidFill>
                  <a:schemeClr val="tx1">
                    <a:lumMod val="65000"/>
                    <a:lumOff val="35000"/>
                  </a:schemeClr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и</a:t>
            </a:r>
            <a:endParaRPr lang="en-US" b="1" noProof="1">
              <a:solidFill>
                <a:schemeClr val="tx1">
                  <a:lumMod val="65000"/>
                  <a:lumOff val="35000"/>
                </a:schemeClr>
              </a:solidFill>
              <a:latin typeface="Roboto Condensed" panose="02000000000000000000" pitchFamily="2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2063362" y="5514256"/>
            <a:ext cx="3840439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algn="just">
              <a:buClr>
                <a:srgbClr val="E24848"/>
              </a:buClr>
              <a:buFont typeface="Roboto Condensed" panose="02000000000000000000" pitchFamily="2" charset="0"/>
              <a:buChar char="+"/>
              <a:defRPr/>
            </a:pP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И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н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т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е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л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л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е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к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т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у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а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л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ь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н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ы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е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д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а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т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ч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и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к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и</a:t>
            </a:r>
            <a:endParaRPr lang="x-none" sz="1200" noProof="1">
              <a:latin typeface="+mj-lt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171450" indent="-171450" algn="just">
              <a:buClr>
                <a:srgbClr val="E24848"/>
              </a:buClr>
              <a:buFont typeface="Roboto Condensed" panose="02000000000000000000" pitchFamily="2" charset="0"/>
              <a:buChar char="+"/>
              <a:defRPr/>
            </a:pP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Исполнительные механизмы</a:t>
            </a:r>
          </a:p>
          <a:p>
            <a:pPr marL="171450" indent="-171450" algn="just">
              <a:buClr>
                <a:srgbClr val="E24848"/>
              </a:buClr>
              <a:buFont typeface="Roboto Condensed" panose="02000000000000000000" pitchFamily="2" charset="0"/>
              <a:buChar char="-"/>
              <a:defRPr/>
            </a:pP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Р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азрозренные интерфейсы</a:t>
            </a:r>
          </a:p>
          <a:p>
            <a:pPr marL="171450" indent="-171450" algn="just">
              <a:buClr>
                <a:srgbClr val="E24848"/>
              </a:buClr>
              <a:buFont typeface="Roboto Condensed" panose="02000000000000000000" pitchFamily="2" charset="0"/>
              <a:buChar char="-"/>
              <a:defRPr/>
            </a:pP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Закр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ы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т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ы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е 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п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р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о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т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о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к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о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л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ы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о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бмена</a:t>
            </a:r>
          </a:p>
          <a:p>
            <a:pPr marL="171450" indent="-171450" algn="just">
              <a:buClr>
                <a:srgbClr val="E24848"/>
              </a:buClr>
              <a:buFont typeface="Roboto Condensed" panose="02000000000000000000" pitchFamily="2" charset="0"/>
              <a:buChar char="-"/>
              <a:defRPr/>
            </a:pP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Отсут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с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т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в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и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е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к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о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м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м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у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н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и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к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а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ц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и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й</a:t>
            </a:r>
            <a:endParaRPr lang="en-US" sz="1200" noProof="1">
              <a:latin typeface="+mj-lt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6180519" y="5144924"/>
            <a:ext cx="394811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buClr>
                <a:srgbClr val="E24848"/>
              </a:buClr>
              <a:defRPr/>
            </a:pPr>
            <a:r>
              <a:rPr lang="x-none" b="1" noProof="1">
                <a:solidFill>
                  <a:schemeClr val="tx1">
                    <a:lumMod val="65000"/>
                    <a:lumOff val="35000"/>
                  </a:schemeClr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И</a:t>
            </a:r>
            <a:r>
              <a:rPr lang="uk-UA" b="1" noProof="1">
                <a:solidFill>
                  <a:schemeClr val="tx1">
                    <a:lumMod val="65000"/>
                    <a:lumOff val="35000"/>
                  </a:schemeClr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н</a:t>
            </a:r>
            <a:r>
              <a:rPr lang="x-none" b="1" noProof="1">
                <a:solidFill>
                  <a:schemeClr val="tx1">
                    <a:lumMod val="65000"/>
                    <a:lumOff val="35000"/>
                  </a:schemeClr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ф</a:t>
            </a:r>
            <a:r>
              <a:rPr lang="uk-UA" b="1" noProof="1">
                <a:solidFill>
                  <a:schemeClr val="tx1">
                    <a:lumMod val="65000"/>
                    <a:lumOff val="35000"/>
                  </a:schemeClr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о</a:t>
            </a:r>
            <a:r>
              <a:rPr lang="x-none" b="1" noProof="1">
                <a:solidFill>
                  <a:schemeClr val="tx1">
                    <a:lumMod val="65000"/>
                    <a:lumOff val="35000"/>
                  </a:schemeClr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р</a:t>
            </a:r>
            <a:r>
              <a:rPr lang="uk-UA" b="1" noProof="1">
                <a:solidFill>
                  <a:schemeClr val="tx1">
                    <a:lumMod val="65000"/>
                    <a:lumOff val="35000"/>
                  </a:schemeClr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м</a:t>
            </a:r>
            <a:r>
              <a:rPr lang="x-none" b="1" noProof="1">
                <a:solidFill>
                  <a:schemeClr val="tx1">
                    <a:lumMod val="65000"/>
                    <a:lumOff val="35000"/>
                  </a:schemeClr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а</a:t>
            </a:r>
            <a:r>
              <a:rPr lang="uk-UA" b="1" noProof="1">
                <a:solidFill>
                  <a:schemeClr val="tx1">
                    <a:lumMod val="65000"/>
                    <a:lumOff val="35000"/>
                  </a:schemeClr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ц</a:t>
            </a:r>
            <a:r>
              <a:rPr lang="x-none" b="1" noProof="1">
                <a:solidFill>
                  <a:schemeClr val="tx1">
                    <a:lumMod val="65000"/>
                    <a:lumOff val="35000"/>
                  </a:schemeClr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и</a:t>
            </a:r>
            <a:r>
              <a:rPr lang="uk-UA" b="1" noProof="1">
                <a:solidFill>
                  <a:schemeClr val="tx1">
                    <a:lumMod val="65000"/>
                    <a:lumOff val="35000"/>
                  </a:schemeClr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о</a:t>
            </a:r>
            <a:r>
              <a:rPr lang="x-none" b="1" noProof="1">
                <a:solidFill>
                  <a:schemeClr val="tx1">
                    <a:lumMod val="65000"/>
                    <a:lumOff val="35000"/>
                  </a:schemeClr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н</a:t>
            </a:r>
            <a:r>
              <a:rPr lang="uk-UA" b="1" noProof="1">
                <a:solidFill>
                  <a:schemeClr val="tx1">
                    <a:lumMod val="65000"/>
                    <a:lumOff val="35000"/>
                  </a:schemeClr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н</a:t>
            </a:r>
            <a:r>
              <a:rPr lang="x-none" b="1" noProof="1">
                <a:solidFill>
                  <a:schemeClr val="tx1">
                    <a:lumMod val="65000"/>
                    <a:lumOff val="35000"/>
                  </a:schemeClr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ы</a:t>
            </a:r>
            <a:r>
              <a:rPr lang="uk-UA" b="1" noProof="1">
                <a:solidFill>
                  <a:schemeClr val="tx1">
                    <a:lumMod val="65000"/>
                    <a:lumOff val="35000"/>
                  </a:schemeClr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е</a:t>
            </a:r>
            <a:r>
              <a:rPr lang="x-none" b="1" noProof="1">
                <a:solidFill>
                  <a:schemeClr val="tx1">
                    <a:lumMod val="65000"/>
                    <a:lumOff val="35000"/>
                  </a:schemeClr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uk-UA" b="1" noProof="1">
                <a:solidFill>
                  <a:schemeClr val="tx1">
                    <a:lumMod val="65000"/>
                    <a:lumOff val="35000"/>
                  </a:schemeClr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т</a:t>
            </a:r>
            <a:r>
              <a:rPr lang="x-none" b="1" noProof="1">
                <a:solidFill>
                  <a:schemeClr val="tx1">
                    <a:lumMod val="65000"/>
                    <a:lumOff val="35000"/>
                  </a:schemeClr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е</a:t>
            </a:r>
            <a:r>
              <a:rPr lang="uk-UA" b="1" noProof="1">
                <a:solidFill>
                  <a:schemeClr val="tx1">
                    <a:lumMod val="65000"/>
                    <a:lumOff val="35000"/>
                  </a:schemeClr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х</a:t>
            </a:r>
            <a:r>
              <a:rPr lang="x-none" b="1" noProof="1">
                <a:solidFill>
                  <a:schemeClr val="tx1">
                    <a:lumMod val="65000"/>
                    <a:lumOff val="35000"/>
                  </a:schemeClr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н</a:t>
            </a:r>
            <a:r>
              <a:rPr lang="uk-UA" b="1" noProof="1">
                <a:solidFill>
                  <a:schemeClr val="tx1">
                    <a:lumMod val="65000"/>
                    <a:lumOff val="35000"/>
                  </a:schemeClr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о</a:t>
            </a:r>
            <a:r>
              <a:rPr lang="x-none" b="1" noProof="1">
                <a:solidFill>
                  <a:schemeClr val="tx1">
                    <a:lumMod val="65000"/>
                    <a:lumOff val="35000"/>
                  </a:schemeClr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л</a:t>
            </a:r>
            <a:r>
              <a:rPr lang="uk-UA" b="1" noProof="1">
                <a:solidFill>
                  <a:schemeClr val="tx1">
                    <a:lumMod val="65000"/>
                    <a:lumOff val="35000"/>
                  </a:schemeClr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о</a:t>
            </a:r>
            <a:r>
              <a:rPr lang="x-none" b="1" noProof="1">
                <a:solidFill>
                  <a:schemeClr val="tx1">
                    <a:lumMod val="65000"/>
                    <a:lumOff val="35000"/>
                  </a:schemeClr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г</a:t>
            </a:r>
            <a:r>
              <a:rPr lang="uk-UA" b="1" noProof="1">
                <a:solidFill>
                  <a:schemeClr val="tx1">
                    <a:lumMod val="65000"/>
                    <a:lumOff val="35000"/>
                  </a:schemeClr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и</a:t>
            </a:r>
            <a:r>
              <a:rPr lang="x-none" b="1" noProof="1">
                <a:solidFill>
                  <a:schemeClr val="tx1">
                    <a:lumMod val="65000"/>
                    <a:lumOff val="35000"/>
                  </a:schemeClr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и</a:t>
            </a:r>
            <a:endParaRPr lang="en-US" b="1" noProof="1">
              <a:solidFill>
                <a:schemeClr val="tx1">
                  <a:lumMod val="65000"/>
                  <a:lumOff val="35000"/>
                </a:schemeClr>
              </a:solidFill>
              <a:latin typeface="Roboto Condensed" panose="02000000000000000000" pitchFamily="2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6180519" y="5514256"/>
            <a:ext cx="4039983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algn="just">
              <a:buClr>
                <a:srgbClr val="E24848"/>
              </a:buClr>
              <a:buFont typeface="Roboto Condensed" panose="02000000000000000000" pitchFamily="2" charset="0"/>
              <a:buChar char="+"/>
              <a:defRPr/>
            </a:pP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Д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а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т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а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ц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е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нтры 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д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л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я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 обра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б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о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т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ки и хранения</a:t>
            </a:r>
          </a:p>
          <a:p>
            <a:pPr marL="171450" indent="-171450" algn="just">
              <a:buClr>
                <a:srgbClr val="E24848"/>
              </a:buClr>
              <a:buFont typeface="Roboto Condensed" panose="02000000000000000000" pitchFamily="2" charset="0"/>
              <a:buChar char="+"/>
              <a:defRPr/>
            </a:pP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Современные 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о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т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к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р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ы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т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ые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 коммун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и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ка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ц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и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и</a:t>
            </a:r>
            <a:endParaRPr lang="x-none" sz="1200" noProof="1">
              <a:latin typeface="+mj-lt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171450" indent="-171450" algn="just">
              <a:buClr>
                <a:srgbClr val="E24848"/>
              </a:buClr>
              <a:buFont typeface="Roboto Condensed" panose="02000000000000000000" pitchFamily="2" charset="0"/>
              <a:buChar char="-"/>
              <a:defRPr/>
            </a:pP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От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с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у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т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с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т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в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и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е 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т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е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х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н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о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л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ог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и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ч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е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с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к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и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х 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з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н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а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н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и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й</a:t>
            </a:r>
          </a:p>
          <a:p>
            <a:pPr marL="171450" indent="-171450" algn="just">
              <a:buClr>
                <a:srgbClr val="E24848"/>
              </a:buClr>
              <a:buFont typeface="Roboto Condensed" panose="02000000000000000000" pitchFamily="2" charset="0"/>
              <a:buChar char="-"/>
              <a:defRPr/>
            </a:pP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Н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е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с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о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в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м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е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с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т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и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м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о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с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т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ь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с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п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р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о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т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к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о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л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ами обмена ниж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н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е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г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о 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у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р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о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в</a:t>
            </a:r>
            <a:r>
              <a:rPr lang="uk-UA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н</a:t>
            </a:r>
            <a:r>
              <a:rPr lang="x-none" sz="12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я</a:t>
            </a:r>
            <a:endParaRPr lang="en-US" sz="1200" noProof="1">
              <a:latin typeface="+mj-lt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pic>
        <p:nvPicPr>
          <p:cNvPr id="17" name="Рисунок 16">
            <a:extLst>
              <a:ext uri="{FF2B5EF4-FFF2-40B4-BE49-F238E27FC236}">
                <a16:creationId xmlns="" xmlns:a16="http://schemas.microsoft.com/office/drawing/2014/main" id="{632F85A2-41F4-4936-98C7-87F2B414BB41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20351" y="6439845"/>
            <a:ext cx="1035642" cy="284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2185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ounded Rectangle 28"/>
          <p:cNvSpPr/>
          <p:nvPr/>
        </p:nvSpPr>
        <p:spPr>
          <a:xfrm>
            <a:off x="462450" y="1617991"/>
            <a:ext cx="5354150" cy="4633377"/>
          </a:xfrm>
          <a:prstGeom prst="roundRect">
            <a:avLst>
              <a:gd name="adj" fmla="val 0"/>
            </a:avLst>
          </a:prstGeom>
          <a:gradFill flip="none" rotWithShape="1">
            <a:gsLst>
              <a:gs pos="100000">
                <a:schemeClr val="bg1">
                  <a:lumMod val="95000"/>
                </a:schemeClr>
              </a:gs>
              <a:gs pos="0">
                <a:schemeClr val="bg1">
                  <a:lumMod val="85000"/>
                  <a:alpha val="52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solidFill>
              <a:schemeClr val="bg1">
                <a:lumMod val="75000"/>
              </a:schemeClr>
            </a:solidFill>
          </a:ln>
          <a:effectLst>
            <a:outerShdw blurRad="38100" dist="38100" dir="2700000" algn="tl" rotWithShape="0">
              <a:prstClr val="black">
                <a:alpha val="19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Рисунок 5">
            <a:extLst>
              <a:ext uri="{FF2B5EF4-FFF2-40B4-BE49-F238E27FC236}">
                <a16:creationId xmlns="" xmlns:a16="http://schemas.microsoft.com/office/drawing/2014/main" id="{DE1163B6-E6F9-4D47-9D16-3742C2210402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205" b="7205"/>
          <a:stretch>
            <a:fillRect/>
          </a:stretch>
        </p:blipFill>
        <p:spPr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pic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1CA209-181F-46EF-9285-755E64EE8A8B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18" name="Rectangle 17"/>
          <p:cNvSpPr/>
          <p:nvPr/>
        </p:nvSpPr>
        <p:spPr>
          <a:xfrm>
            <a:off x="1682043" y="356920"/>
            <a:ext cx="873830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  <a:buClr>
                <a:srgbClr val="E24848"/>
              </a:buClr>
              <a:defRPr/>
            </a:pPr>
            <a:r>
              <a:rPr lang="x-none" sz="3200" b="1" noProof="1"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П</a:t>
            </a:r>
            <a:r>
              <a:rPr lang="uk-UA" sz="3200" b="1" noProof="1"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Л</a:t>
            </a:r>
            <a:r>
              <a:rPr lang="x-none" sz="3200" b="1" noProof="1"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А</a:t>
            </a:r>
            <a:r>
              <a:rPr lang="uk-UA" sz="3200" b="1" noProof="1"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Т</a:t>
            </a:r>
            <a:r>
              <a:rPr lang="x-none" sz="3200" b="1" noProof="1"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Ф</a:t>
            </a:r>
            <a:r>
              <a:rPr lang="uk-UA" sz="3200" b="1" noProof="1"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О</a:t>
            </a:r>
            <a:r>
              <a:rPr lang="x-none" sz="3200" b="1" noProof="1"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Р</a:t>
            </a:r>
            <a:r>
              <a:rPr lang="uk-UA" sz="3200" b="1" noProof="1"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М</a:t>
            </a:r>
            <a:r>
              <a:rPr lang="x-none" sz="3200" b="1" noProof="1"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А</a:t>
            </a:r>
            <a:r>
              <a:rPr lang="en-US" sz="3200" b="1" noProof="1"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3200" b="1" noProof="1">
                <a:solidFill>
                  <a:schemeClr val="accent6">
                    <a:lumMod val="75000"/>
                  </a:schemeClr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ADVANTECH</a:t>
            </a:r>
            <a:r>
              <a:rPr lang="en-US" sz="3200" b="1" noProof="1"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3200" b="1" noProof="1" smtClean="0">
                <a:solidFill>
                  <a:schemeClr val="accent6">
                    <a:lumMod val="75000"/>
                  </a:schemeClr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WebA</a:t>
            </a:r>
            <a:r>
              <a:rPr lang="en-US" sz="3200" b="1" noProof="1" smtClean="0">
                <a:solidFill>
                  <a:schemeClr val="accent6">
                    <a:lumMod val="75000"/>
                  </a:schemeClr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ccess</a:t>
            </a:r>
            <a:endParaRPr lang="en-US" sz="3200" b="1" noProof="1">
              <a:solidFill>
                <a:schemeClr val="accent6">
                  <a:lumMod val="75000"/>
                </a:schemeClr>
              </a:solidFill>
              <a:latin typeface="Roboto Condensed" panose="02000000000000000000" pitchFamily="2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3335631" y="816834"/>
            <a:ext cx="552073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  <a:buClr>
                <a:srgbClr val="E24848"/>
              </a:buClr>
              <a:defRPr/>
            </a:pPr>
            <a:r>
              <a:rPr lang="ru-RU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WISE-PaaS</a:t>
            </a:r>
            <a:r>
              <a:rPr lang="x-none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:</a:t>
            </a:r>
            <a:r>
              <a:rPr lang="ru-RU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x-none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п</a:t>
            </a:r>
            <a:r>
              <a:rPr lang="uk-UA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р</a:t>
            </a:r>
            <a:r>
              <a:rPr lang="x-none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о</a:t>
            </a:r>
            <a:r>
              <a:rPr lang="uk-UA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с</a:t>
            </a:r>
            <a:r>
              <a:rPr lang="x-none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т</a:t>
            </a:r>
            <a:r>
              <a:rPr lang="uk-UA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о</a:t>
            </a:r>
            <a:r>
              <a:rPr lang="x-none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й </a:t>
            </a:r>
            <a:r>
              <a:rPr lang="uk-UA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п</a:t>
            </a:r>
            <a:r>
              <a:rPr lang="x-none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у</a:t>
            </a:r>
            <a:r>
              <a:rPr lang="uk-UA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т</a:t>
            </a:r>
            <a:r>
              <a:rPr lang="x-none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ь </a:t>
            </a:r>
            <a:r>
              <a:rPr lang="uk-UA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к</a:t>
            </a:r>
            <a:r>
              <a:rPr lang="x-none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ru-RU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облачным сервисам</a:t>
            </a:r>
            <a:endParaRPr lang="pt-BR" sz="1400" noProof="1">
              <a:latin typeface="+mj-lt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6267851" y="3358268"/>
            <a:ext cx="5222400" cy="28931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buClr>
                <a:srgbClr val="E24848"/>
              </a:buClr>
              <a:defRPr/>
            </a:pPr>
            <a:r>
              <a:rPr lang="ru-RU" sz="1400" noProof="1">
                <a:solidFill>
                  <a:schemeClr val="tx2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Компания Advantech разработала серию программных пакетов PaaS (технология «платформа как сервис»), таких как платформа прикладного программного обеспечения WebAccess, которая включает в себя решения SCADA, VCM и IMM. </a:t>
            </a:r>
            <a:endParaRPr lang="en-US" sz="1400" noProof="1">
              <a:solidFill>
                <a:schemeClr val="tx2"/>
              </a:solidFill>
              <a:latin typeface="+mj-lt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algn="just">
              <a:buClr>
                <a:srgbClr val="E24848"/>
              </a:buClr>
              <a:defRPr/>
            </a:pPr>
            <a:r>
              <a:rPr lang="ru-RU" sz="1400" noProof="1">
                <a:solidFill>
                  <a:schemeClr val="tx2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Advantech планирует разработать и приобрести дополнительное программное обеспечение, чтобы сделать ПО WISE-PaaS и WebAccess ведущим программным обеспечение</a:t>
            </a:r>
            <a:r>
              <a:rPr lang="x-none" sz="1400" noProof="1">
                <a:solidFill>
                  <a:schemeClr val="tx2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м</a:t>
            </a:r>
            <a:r>
              <a:rPr lang="ru-RU" sz="1400" noProof="1">
                <a:solidFill>
                  <a:schemeClr val="tx2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 Интернета вещей на рынке. Компания также предлагает многочисленным сторонним поставщикам программного обеспечения присоединиться к своей передовой интеллектуальной платформе WISE-PaaS, чтобы предоставить целый ряд решений, удовлетворяющих потребности клиентов.</a:t>
            </a:r>
          </a:p>
          <a:p>
            <a:pPr algn="just">
              <a:buClr>
                <a:srgbClr val="E24848"/>
              </a:buClr>
              <a:defRPr/>
            </a:pPr>
            <a:endParaRPr lang="en-US" sz="1400" noProof="1">
              <a:solidFill>
                <a:schemeClr val="tx2"/>
              </a:solidFill>
              <a:latin typeface="+mj-lt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pic>
        <p:nvPicPr>
          <p:cNvPr id="12" name="Рисунок 11">
            <a:extLst>
              <a:ext uri="{FF2B5EF4-FFF2-40B4-BE49-F238E27FC236}">
                <a16:creationId xmlns="" xmlns:a16="http://schemas.microsoft.com/office/drawing/2014/main" id="{1C7D1FA8-1CCC-4687-9D64-6780E12C499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20351" y="6439845"/>
            <a:ext cx="1035642" cy="284736"/>
          </a:xfrm>
          <a:prstGeom prst="rect">
            <a:avLst/>
          </a:prstGeom>
        </p:spPr>
      </p:pic>
      <p:sp>
        <p:nvSpPr>
          <p:cNvPr id="11" name="Rectangle 29"/>
          <p:cNvSpPr/>
          <p:nvPr/>
        </p:nvSpPr>
        <p:spPr>
          <a:xfrm>
            <a:off x="6243885" y="2202766"/>
            <a:ext cx="523691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buClr>
                <a:srgbClr val="E24848"/>
              </a:buClr>
              <a:defRPr/>
            </a:pPr>
            <a:r>
              <a:rPr lang="en-US" sz="3200" b="1" noProof="1" smtClean="0">
                <a:solidFill>
                  <a:schemeClr val="accent6">
                    <a:lumMod val="75000"/>
                  </a:schemeClr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WISE-PaaS </a:t>
            </a:r>
            <a:r>
              <a:rPr lang="uk-UA" sz="3200" b="1" noProof="1">
                <a:solidFill>
                  <a:schemeClr val="accent6">
                    <a:lumMod val="75000"/>
                  </a:schemeClr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и </a:t>
            </a:r>
            <a:r>
              <a:rPr lang="en-US" sz="3200" b="1" noProof="1">
                <a:solidFill>
                  <a:schemeClr val="accent6">
                    <a:lumMod val="75000"/>
                  </a:schemeClr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WebAccess</a:t>
            </a:r>
            <a:r>
              <a:rPr lang="en-US" sz="3200" b="1" noProof="1">
                <a:solidFill>
                  <a:schemeClr val="accent6"/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endParaRPr lang="x-none" sz="3200" b="1" noProof="1">
              <a:solidFill>
                <a:schemeClr val="accent6"/>
              </a:solidFill>
              <a:latin typeface="Roboto Condensed" panose="02000000000000000000" pitchFamily="2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13" name="Straight Connector 4"/>
          <p:cNvCxnSpPr/>
          <p:nvPr/>
        </p:nvCxnSpPr>
        <p:spPr>
          <a:xfrm>
            <a:off x="6339051" y="3353430"/>
            <a:ext cx="508000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79516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ounded Rectangle 28"/>
          <p:cNvSpPr/>
          <p:nvPr/>
        </p:nvSpPr>
        <p:spPr>
          <a:xfrm>
            <a:off x="455193" y="1774220"/>
            <a:ext cx="3253207" cy="2815262"/>
          </a:xfrm>
          <a:prstGeom prst="roundRect">
            <a:avLst>
              <a:gd name="adj" fmla="val 0"/>
            </a:avLst>
          </a:prstGeom>
          <a:gradFill flip="none" rotWithShape="1">
            <a:gsLst>
              <a:gs pos="100000">
                <a:schemeClr val="bg1">
                  <a:lumMod val="95000"/>
                </a:schemeClr>
              </a:gs>
              <a:gs pos="0">
                <a:schemeClr val="bg1">
                  <a:lumMod val="85000"/>
                  <a:alpha val="52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solidFill>
              <a:schemeClr val="bg1">
                <a:lumMod val="85000"/>
              </a:schemeClr>
            </a:solidFill>
          </a:ln>
          <a:effectLst>
            <a:outerShdw blurRad="38100" dist="38100" dir="2700000" algn="tl" rotWithShape="0">
              <a:prstClr val="black">
                <a:alpha val="19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Рисунок 3">
            <a:extLst>
              <a:ext uri="{FF2B5EF4-FFF2-40B4-BE49-F238E27FC236}">
                <a16:creationId xmlns="" xmlns:a16="http://schemas.microsoft.com/office/drawing/2014/main" id="{0F2F2A8B-F2AE-4270-BE37-A18D4A50C880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725" r="19725"/>
          <a:stretch>
            <a:fillRect/>
          </a:stretch>
        </p:blipFill>
        <p:spPr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pic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1CA209-181F-46EF-9285-755E64EE8A8B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18" name="Rectangle 17"/>
          <p:cNvSpPr/>
          <p:nvPr/>
        </p:nvSpPr>
        <p:spPr>
          <a:xfrm>
            <a:off x="2276476" y="356920"/>
            <a:ext cx="763905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  <a:buClr>
                <a:srgbClr val="E24848"/>
              </a:buClr>
              <a:defRPr/>
            </a:pPr>
            <a:r>
              <a:rPr lang="x-none" sz="3200" b="1" noProof="1"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Г</a:t>
            </a:r>
            <a:r>
              <a:rPr lang="uk-UA" sz="3200" b="1" noProof="1"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О</a:t>
            </a:r>
            <a:r>
              <a:rPr lang="x-none" sz="3200" b="1" noProof="1"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Т</a:t>
            </a:r>
            <a:r>
              <a:rPr lang="uk-UA" sz="3200" b="1" noProof="1"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О</a:t>
            </a:r>
            <a:r>
              <a:rPr lang="x-none" sz="3200" b="1" noProof="1"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</a:t>
            </a:r>
            <a:r>
              <a:rPr lang="uk-UA" sz="3200" b="1" noProof="1"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Ы</a:t>
            </a:r>
            <a:r>
              <a:rPr lang="x-none" sz="3200" b="1" noProof="1"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Е </a:t>
            </a:r>
            <a:r>
              <a:rPr lang="uk-UA" sz="3200" b="1" noProof="1"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О</a:t>
            </a:r>
            <a:r>
              <a:rPr lang="x-none" sz="3200" b="1" noProof="1"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Т</a:t>
            </a:r>
            <a:r>
              <a:rPr lang="uk-UA" sz="3200" b="1" noProof="1"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Р</a:t>
            </a:r>
            <a:r>
              <a:rPr lang="x-none" sz="3200" b="1" noProof="1"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А</a:t>
            </a:r>
            <a:r>
              <a:rPr lang="uk-UA" sz="3200" b="1" noProof="1"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С</a:t>
            </a:r>
            <a:r>
              <a:rPr lang="x-none" sz="3200" b="1" noProof="1"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Л</a:t>
            </a:r>
            <a:r>
              <a:rPr lang="uk-UA" sz="3200" b="1" noProof="1"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Е</a:t>
            </a:r>
            <a:r>
              <a:rPr lang="x-none" sz="3200" b="1" noProof="1"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</a:t>
            </a:r>
            <a:r>
              <a:rPr lang="uk-UA" sz="3200" b="1" noProof="1"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Ы</a:t>
            </a:r>
            <a:r>
              <a:rPr lang="x-none" sz="3200" b="1" noProof="1"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Е </a:t>
            </a:r>
            <a:r>
              <a:rPr lang="uk-UA" sz="3200" b="1" noProof="1">
                <a:solidFill>
                  <a:schemeClr val="accent6">
                    <a:lumMod val="75000"/>
                  </a:schemeClr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Р</a:t>
            </a:r>
            <a:r>
              <a:rPr lang="x-none" sz="3200" b="1" noProof="1">
                <a:solidFill>
                  <a:schemeClr val="accent6">
                    <a:lumMod val="75000"/>
                  </a:schemeClr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Е</a:t>
            </a:r>
            <a:r>
              <a:rPr lang="uk-UA" sz="3200" b="1" noProof="1">
                <a:solidFill>
                  <a:schemeClr val="accent6">
                    <a:lumMod val="75000"/>
                  </a:schemeClr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Ш</a:t>
            </a:r>
            <a:r>
              <a:rPr lang="x-none" sz="3200" b="1" noProof="1">
                <a:solidFill>
                  <a:schemeClr val="accent6">
                    <a:lumMod val="75000"/>
                  </a:schemeClr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Е</a:t>
            </a:r>
            <a:r>
              <a:rPr lang="uk-UA" sz="3200" b="1" noProof="1">
                <a:solidFill>
                  <a:schemeClr val="accent6">
                    <a:lumMod val="75000"/>
                  </a:schemeClr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Н</a:t>
            </a:r>
            <a:r>
              <a:rPr lang="x-none" sz="3200" b="1" noProof="1">
                <a:solidFill>
                  <a:schemeClr val="accent6">
                    <a:lumMod val="75000"/>
                  </a:schemeClr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И</a:t>
            </a:r>
            <a:r>
              <a:rPr lang="uk-UA" sz="3200" b="1" noProof="1">
                <a:solidFill>
                  <a:schemeClr val="accent6">
                    <a:lumMod val="75000"/>
                  </a:schemeClr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Я</a:t>
            </a:r>
            <a:endParaRPr lang="en-US" sz="3200" b="1" noProof="1">
              <a:solidFill>
                <a:schemeClr val="accent6">
                  <a:lumMod val="75000"/>
                </a:schemeClr>
              </a:solidFill>
              <a:latin typeface="Roboto Condensed" panose="02000000000000000000" pitchFamily="2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3335631" y="816834"/>
            <a:ext cx="552073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  <a:buClr>
                <a:srgbClr val="E24848"/>
              </a:buClr>
              <a:defRPr/>
            </a:pPr>
            <a:r>
              <a:rPr lang="x-none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С</a:t>
            </a:r>
            <a:r>
              <a:rPr lang="uk-UA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мартпродукты </a:t>
            </a:r>
            <a:r>
              <a:rPr lang="pt-BR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iFactory, SmartCity, iHealth, iRetai</a:t>
            </a:r>
          </a:p>
        </p:txBody>
      </p:sp>
      <p:sp>
        <p:nvSpPr>
          <p:cNvPr id="34" name="Rectangle 33"/>
          <p:cNvSpPr/>
          <p:nvPr/>
        </p:nvSpPr>
        <p:spPr>
          <a:xfrm>
            <a:off x="7389800" y="3585820"/>
            <a:ext cx="4427550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buClr>
                <a:srgbClr val="E24848"/>
              </a:buClr>
              <a:defRPr/>
            </a:pPr>
            <a:r>
              <a:rPr lang="ru-RU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Основываясь на собственном оборудовании, программной платформе WebAccess и руководствуясь принципами I4.0, компания Advantech предложила новую концепцию - WISE-PaaS, платформа как сервис. Больше не нужно заботиться о развертывании собственной системы SCADA или NMS - вы идете в магазин облачных решений и приобретаете готовую платформу, настраиваете ее под свои нужды и получаете готовое решение</a:t>
            </a:r>
            <a:r>
              <a:rPr lang="en-US" sz="1400" noProof="1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</a:p>
        </p:txBody>
      </p:sp>
      <p:sp>
        <p:nvSpPr>
          <p:cNvPr id="35" name="Rectangle 34"/>
          <p:cNvSpPr/>
          <p:nvPr/>
        </p:nvSpPr>
        <p:spPr>
          <a:xfrm>
            <a:off x="6931379" y="2868631"/>
            <a:ext cx="526062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buClr>
                <a:srgbClr val="E24848"/>
              </a:buClr>
              <a:defRPr/>
            </a:pPr>
            <a:r>
              <a:rPr lang="en-US" sz="3200" noProof="1">
                <a:solidFill>
                  <a:schemeClr val="accent6">
                    <a:lumMod val="75000"/>
                  </a:schemeClr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Solution Ready</a:t>
            </a:r>
            <a:r>
              <a:rPr lang="x-none" sz="3200" noProof="1">
                <a:solidFill>
                  <a:schemeClr val="accent6">
                    <a:lumMod val="75000"/>
                  </a:schemeClr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3200" noProof="1">
                <a:solidFill>
                  <a:schemeClr val="accent6">
                    <a:lumMod val="75000"/>
                  </a:schemeClr>
                </a:solidFill>
                <a:latin typeface="Roboto Condensed" panose="02000000000000000000" pitchFamily="2" charset="0"/>
                <a:ea typeface="Open Sans Light" panose="020B0306030504020204" pitchFamily="34" charset="0"/>
                <a:cs typeface="Open Sans Light" panose="020B0306030504020204" pitchFamily="34" charset="0"/>
              </a:rPr>
              <a:t>Packages</a:t>
            </a:r>
          </a:p>
        </p:txBody>
      </p:sp>
      <p:cxnSp>
        <p:nvCxnSpPr>
          <p:cNvPr id="36" name="Straight Connector 35"/>
          <p:cNvCxnSpPr/>
          <p:nvPr/>
        </p:nvCxnSpPr>
        <p:spPr>
          <a:xfrm>
            <a:off x="7522749" y="3483429"/>
            <a:ext cx="4034251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ounded Rectangle 12"/>
          <p:cNvSpPr/>
          <p:nvPr/>
        </p:nvSpPr>
        <p:spPr>
          <a:xfrm>
            <a:off x="1231708" y="3198705"/>
            <a:ext cx="3253207" cy="2815262"/>
          </a:xfrm>
          <a:prstGeom prst="roundRect">
            <a:avLst>
              <a:gd name="adj" fmla="val 0"/>
            </a:avLst>
          </a:prstGeom>
          <a:gradFill flip="none" rotWithShape="1">
            <a:gsLst>
              <a:gs pos="100000">
                <a:schemeClr val="bg1">
                  <a:lumMod val="95000"/>
                </a:schemeClr>
              </a:gs>
              <a:gs pos="0">
                <a:schemeClr val="bg1">
                  <a:lumMod val="85000"/>
                  <a:alpha val="52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solidFill>
              <a:schemeClr val="bg1">
                <a:lumMod val="85000"/>
              </a:schemeClr>
            </a:solidFill>
          </a:ln>
          <a:effectLst>
            <a:outerShdw blurRad="38100" dist="38100" dir="2700000" algn="tl" rotWithShape="0">
              <a:prstClr val="black">
                <a:alpha val="19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Рисунок 11">
            <a:extLst>
              <a:ext uri="{FF2B5EF4-FFF2-40B4-BE49-F238E27FC236}">
                <a16:creationId xmlns="" xmlns:a16="http://schemas.microsoft.com/office/drawing/2014/main" id="{436743B7-5C74-4205-998B-C86DFB0C7E39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10" r="10110"/>
          <a:stretch>
            <a:fillRect/>
          </a:stretch>
        </p:blipFill>
        <p:spPr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pic>
      <p:sp>
        <p:nvSpPr>
          <p:cNvPr id="16" name="Rounded Rectangle 15"/>
          <p:cNvSpPr/>
          <p:nvPr/>
        </p:nvSpPr>
        <p:spPr>
          <a:xfrm>
            <a:off x="3918834" y="2498296"/>
            <a:ext cx="2685192" cy="2323713"/>
          </a:xfrm>
          <a:prstGeom prst="roundRect">
            <a:avLst>
              <a:gd name="adj" fmla="val 0"/>
            </a:avLst>
          </a:prstGeom>
          <a:gradFill flip="none" rotWithShape="1">
            <a:gsLst>
              <a:gs pos="100000">
                <a:schemeClr val="bg1">
                  <a:lumMod val="95000"/>
                </a:schemeClr>
              </a:gs>
              <a:gs pos="0">
                <a:schemeClr val="bg1">
                  <a:lumMod val="85000"/>
                  <a:alpha val="52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solidFill>
              <a:schemeClr val="bg1">
                <a:lumMod val="85000"/>
              </a:schemeClr>
            </a:solidFill>
          </a:ln>
          <a:effectLst>
            <a:outerShdw blurRad="38100" dist="38100" dir="2700000" algn="tl" rotWithShape="0">
              <a:prstClr val="black">
                <a:alpha val="19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Рисунок 5">
            <a:extLst>
              <a:ext uri="{FF2B5EF4-FFF2-40B4-BE49-F238E27FC236}">
                <a16:creationId xmlns="" xmlns:a16="http://schemas.microsoft.com/office/drawing/2014/main" id="{731D9ABE-EDDC-446F-AA21-5A7E0782CBAB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947" r="11947"/>
          <a:stretch>
            <a:fillRect/>
          </a:stretch>
        </p:blipFill>
        <p:spPr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pic>
      <p:sp>
        <p:nvSpPr>
          <p:cNvPr id="22" name="Rounded Rectangle 21"/>
          <p:cNvSpPr/>
          <p:nvPr/>
        </p:nvSpPr>
        <p:spPr>
          <a:xfrm>
            <a:off x="5256174" y="4393363"/>
            <a:ext cx="1872707" cy="1620604"/>
          </a:xfrm>
          <a:prstGeom prst="roundRect">
            <a:avLst>
              <a:gd name="adj" fmla="val 0"/>
            </a:avLst>
          </a:prstGeom>
          <a:gradFill flip="none" rotWithShape="1">
            <a:gsLst>
              <a:gs pos="100000">
                <a:schemeClr val="bg1">
                  <a:lumMod val="95000"/>
                </a:schemeClr>
              </a:gs>
              <a:gs pos="0">
                <a:schemeClr val="bg1">
                  <a:lumMod val="85000"/>
                  <a:alpha val="52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solidFill>
              <a:schemeClr val="bg1">
                <a:lumMod val="85000"/>
              </a:schemeClr>
            </a:solidFill>
          </a:ln>
          <a:effectLst>
            <a:outerShdw blurRad="38100" dist="38100" dir="2700000" algn="tl" rotWithShape="0">
              <a:prstClr val="black">
                <a:alpha val="19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Рисунок 14">
            <a:extLst>
              <a:ext uri="{FF2B5EF4-FFF2-40B4-BE49-F238E27FC236}">
                <a16:creationId xmlns="" xmlns:a16="http://schemas.microsoft.com/office/drawing/2014/main" id="{88F6A47C-E314-432F-A26B-EB3CCE889F3F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283" r="10283"/>
          <a:stretch>
            <a:fillRect/>
          </a:stretch>
        </p:blipFill>
        <p:spPr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pic>
      <p:pic>
        <p:nvPicPr>
          <p:cNvPr id="24" name="Рисунок 23">
            <a:extLst>
              <a:ext uri="{FF2B5EF4-FFF2-40B4-BE49-F238E27FC236}">
                <a16:creationId xmlns="" xmlns:a16="http://schemas.microsoft.com/office/drawing/2014/main" id="{C7C8CBA6-7581-48E2-B7FF-30D74FB67BC9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20351" y="6439845"/>
            <a:ext cx="1035642" cy="284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85410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eKsZR4iUOkkT7XaTW_gQ"/>
</p:tagLst>
</file>

<file path=ppt/theme/theme1.xml><?xml version="1.0" encoding="utf-8"?>
<a:theme xmlns:a="http://schemas.openxmlformats.org/drawingml/2006/main" name="Office Theme">
  <a:themeElements>
    <a:clrScheme name="bit-2019 wise pres">
      <a:dk1>
        <a:sysClr val="windowText" lastClr="000000"/>
      </a:dk1>
      <a:lt1>
        <a:sysClr val="window" lastClr="FFFFFF"/>
      </a:lt1>
      <a:dk2>
        <a:srgbClr val="262626"/>
      </a:dk2>
      <a:lt2>
        <a:srgbClr val="E7E6E6"/>
      </a:lt2>
      <a:accent1>
        <a:srgbClr val="5B9BD5"/>
      </a:accent1>
      <a:accent2>
        <a:srgbClr val="ED7D31"/>
      </a:accent2>
      <a:accent3>
        <a:srgbClr val="000000"/>
      </a:accent3>
      <a:accent4>
        <a:srgbClr val="FFC000"/>
      </a:accent4>
      <a:accent5>
        <a:srgbClr val="4472C4"/>
      </a:accent5>
      <a:accent6>
        <a:srgbClr val="538135"/>
      </a:accent6>
      <a:hlink>
        <a:srgbClr val="0563C1"/>
      </a:hlink>
      <a:folHlink>
        <a:srgbClr val="954F72"/>
      </a:folHlink>
    </a:clrScheme>
    <a:fontScheme name="Другая 1">
      <a:majorFont>
        <a:latin typeface="Roboto Condensed"/>
        <a:ea typeface=""/>
        <a:cs typeface=""/>
      </a:majorFont>
      <a:minorFont>
        <a:latin typeface="Roboto Condens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5166</TotalTime>
  <Words>2645</Words>
  <Application>Microsoft Office PowerPoint</Application>
  <PresentationFormat>Произвольный</PresentationFormat>
  <Paragraphs>170</Paragraphs>
  <Slides>12</Slides>
  <Notes>12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2</vt:i4>
      </vt:variant>
    </vt:vector>
  </HeadingPairs>
  <TitlesOfParts>
    <vt:vector size="13" baseType="lpstr">
      <vt:lpstr>Office Them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ong island</dc:creator>
  <cp:lastModifiedBy>Виктор Мазовский</cp:lastModifiedBy>
  <cp:revision>1925</cp:revision>
  <cp:lastPrinted>2019-02-25T14:03:37Z</cp:lastPrinted>
  <dcterms:created xsi:type="dcterms:W3CDTF">2015-03-18T00:19:50Z</dcterms:created>
  <dcterms:modified xsi:type="dcterms:W3CDTF">2019-02-25T14:09:53Z</dcterms:modified>
</cp:coreProperties>
</file>